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0986" r:id="rId5"/>
    <p:sldId id="20980" r:id="rId6"/>
    <p:sldId id="20983" r:id="rId7"/>
    <p:sldId id="20984" r:id="rId8"/>
    <p:sldId id="20985" r:id="rId9"/>
    <p:sldId id="20987" r:id="rId10"/>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4660"/>
  </p:normalViewPr>
  <p:slideViewPr>
    <p:cSldViewPr snapToGrid="0">
      <p:cViewPr>
        <p:scale>
          <a:sx n="70" d="100"/>
          <a:sy n="70" d="100"/>
        </p:scale>
        <p:origin x="46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A178AD-F26D-4960-917E-DAD0032EA238}" type="doc">
      <dgm:prSet loTypeId="urn:microsoft.com/office/officeart/2011/layout/ConvergingText" loCatId="officeonline" qsTypeId="urn:microsoft.com/office/officeart/2005/8/quickstyle/simple1" qsCatId="simple" csTypeId="urn:microsoft.com/office/officeart/2005/8/colors/accent1_2" csCatId="accent1" phldr="1"/>
      <dgm:spPr/>
      <dgm:t>
        <a:bodyPr/>
        <a:lstStyle/>
        <a:p>
          <a:endParaRPr lang="en-IN"/>
        </a:p>
      </dgm:t>
    </dgm:pt>
    <dgm:pt modelId="{14C00E50-BB07-45FA-9854-663D965C6D51}">
      <dgm:prSet phldrT="[Text]"/>
      <dgm:spPr/>
      <dgm:t>
        <a:bodyPr/>
        <a:lstStyle/>
        <a:p>
          <a:r>
            <a:rPr lang="en-IN" dirty="0"/>
            <a:t>Supplier Accreditation -Carbon foot print</a:t>
          </a:r>
        </a:p>
        <a:p>
          <a:r>
            <a:rPr lang="en-IN" dirty="0"/>
            <a:t>-ESG score</a:t>
          </a:r>
        </a:p>
      </dgm:t>
    </dgm:pt>
    <dgm:pt modelId="{73990A09-07D5-4387-8B01-5D5D62ED371A}" type="parTrans" cxnId="{EEB9DB43-0995-4105-89E7-725E366F571E}">
      <dgm:prSet/>
      <dgm:spPr/>
      <dgm:t>
        <a:bodyPr/>
        <a:lstStyle/>
        <a:p>
          <a:endParaRPr lang="en-IN"/>
        </a:p>
      </dgm:t>
    </dgm:pt>
    <dgm:pt modelId="{50D033A8-2131-4EE8-A361-5960F2023B83}" type="sibTrans" cxnId="{EEB9DB43-0995-4105-89E7-725E366F571E}">
      <dgm:prSet/>
      <dgm:spPr/>
      <dgm:t>
        <a:bodyPr/>
        <a:lstStyle/>
        <a:p>
          <a:endParaRPr lang="en-IN"/>
        </a:p>
      </dgm:t>
    </dgm:pt>
    <dgm:pt modelId="{8ADF2ADB-F7D8-44D0-80BF-152E29A13C0A}">
      <dgm:prSet phldrT="[Text]" custT="1"/>
      <dgm:spPr/>
      <dgm:t>
        <a:bodyPr/>
        <a:lstStyle/>
        <a:p>
          <a:r>
            <a:rPr lang="en-IN" sz="1200" dirty="0">
              <a:solidFill>
                <a:schemeClr val="bg1"/>
              </a:solidFill>
            </a:rPr>
            <a:t>Failed Deliveries due to inaccurate addresses</a:t>
          </a:r>
        </a:p>
      </dgm:t>
    </dgm:pt>
    <dgm:pt modelId="{70D80BE4-2BD3-499D-85A4-BB6A2278B3FB}" type="parTrans" cxnId="{A60F834A-2028-43AC-824A-DF371709AF53}">
      <dgm:prSet/>
      <dgm:spPr/>
      <dgm:t>
        <a:bodyPr/>
        <a:lstStyle/>
        <a:p>
          <a:endParaRPr lang="en-IN"/>
        </a:p>
      </dgm:t>
    </dgm:pt>
    <dgm:pt modelId="{4D485C85-E675-412D-9973-A9D6113FD745}" type="sibTrans" cxnId="{A60F834A-2028-43AC-824A-DF371709AF53}">
      <dgm:prSet/>
      <dgm:spPr/>
      <dgm:t>
        <a:bodyPr/>
        <a:lstStyle/>
        <a:p>
          <a:endParaRPr lang="en-IN"/>
        </a:p>
      </dgm:t>
    </dgm:pt>
    <dgm:pt modelId="{AD980AB9-8FC1-43D4-B025-60F1E2CAF53D}">
      <dgm:prSet phldrT="[Text]" custT="1"/>
      <dgm:spPr/>
      <dgm:t>
        <a:bodyPr/>
        <a:lstStyle/>
        <a:p>
          <a:r>
            <a:rPr lang="en-IN" sz="1200" dirty="0">
              <a:solidFill>
                <a:schemeClr val="bg1"/>
              </a:solidFill>
            </a:rPr>
            <a:t>Carbon emissions with each delivery</a:t>
          </a:r>
        </a:p>
      </dgm:t>
    </dgm:pt>
    <dgm:pt modelId="{333661C7-719B-4749-9D66-EC42E0E3CA22}" type="parTrans" cxnId="{9D48994B-1F85-4087-B1FA-300D390AAF8C}">
      <dgm:prSet/>
      <dgm:spPr/>
      <dgm:t>
        <a:bodyPr/>
        <a:lstStyle/>
        <a:p>
          <a:endParaRPr lang="en-IN"/>
        </a:p>
      </dgm:t>
    </dgm:pt>
    <dgm:pt modelId="{D03B3623-3A80-47AC-A94F-6FAA7688C130}" type="sibTrans" cxnId="{9D48994B-1F85-4087-B1FA-300D390AAF8C}">
      <dgm:prSet/>
      <dgm:spPr/>
      <dgm:t>
        <a:bodyPr/>
        <a:lstStyle/>
        <a:p>
          <a:endParaRPr lang="en-IN"/>
        </a:p>
      </dgm:t>
    </dgm:pt>
    <dgm:pt modelId="{54F765BF-7340-4601-92BD-89DB50923D6A}">
      <dgm:prSet phldrT="[Text]" custT="1"/>
      <dgm:spPr/>
      <dgm:t>
        <a:bodyPr/>
        <a:lstStyle/>
        <a:p>
          <a:r>
            <a:rPr lang="en-IN" sz="1200" dirty="0">
              <a:solidFill>
                <a:schemeClr val="bg1"/>
              </a:solidFill>
            </a:rPr>
            <a:t>Geo route and their related carbon dioxide emissions</a:t>
          </a:r>
        </a:p>
      </dgm:t>
    </dgm:pt>
    <dgm:pt modelId="{DA20E8ED-5EA6-4A0A-9CF7-5EAC727D2917}" type="parTrans" cxnId="{51DC11BD-5A9E-4BFF-A780-F0269F242513}">
      <dgm:prSet/>
      <dgm:spPr/>
      <dgm:t>
        <a:bodyPr/>
        <a:lstStyle/>
        <a:p>
          <a:endParaRPr lang="en-IN"/>
        </a:p>
      </dgm:t>
    </dgm:pt>
    <dgm:pt modelId="{28395127-D4FD-4305-8276-5B48FA2BA54A}" type="sibTrans" cxnId="{51DC11BD-5A9E-4BFF-A780-F0269F242513}">
      <dgm:prSet/>
      <dgm:spPr/>
      <dgm:t>
        <a:bodyPr/>
        <a:lstStyle/>
        <a:p>
          <a:endParaRPr lang="en-IN"/>
        </a:p>
      </dgm:t>
    </dgm:pt>
    <dgm:pt modelId="{5126A8E4-0DAE-4ECD-A105-F3519F0295C3}">
      <dgm:prSet phldrT="[Text]" custT="1"/>
      <dgm:spPr/>
      <dgm:t>
        <a:bodyPr/>
        <a:lstStyle/>
        <a:p>
          <a:r>
            <a:rPr lang="en-IN" sz="1200" dirty="0">
              <a:solidFill>
                <a:schemeClr val="bg1"/>
              </a:solidFill>
            </a:rPr>
            <a:t>Depending on route of delivery, vehicle selection based on emissions levels</a:t>
          </a:r>
        </a:p>
      </dgm:t>
    </dgm:pt>
    <dgm:pt modelId="{ED46F1F3-1D5F-4265-BBD3-C9586E4C5C1F}" type="parTrans" cxnId="{7DBF148D-7935-4901-8C78-66539B6AF40C}">
      <dgm:prSet/>
      <dgm:spPr/>
      <dgm:t>
        <a:bodyPr/>
        <a:lstStyle/>
        <a:p>
          <a:endParaRPr lang="en-IN"/>
        </a:p>
      </dgm:t>
    </dgm:pt>
    <dgm:pt modelId="{FCE199F3-C3BD-4441-9F7A-FDB42E2BEF67}" type="sibTrans" cxnId="{7DBF148D-7935-4901-8C78-66539B6AF40C}">
      <dgm:prSet/>
      <dgm:spPr/>
      <dgm:t>
        <a:bodyPr/>
        <a:lstStyle/>
        <a:p>
          <a:endParaRPr lang="en-IN"/>
        </a:p>
      </dgm:t>
    </dgm:pt>
    <dgm:pt modelId="{D2DA397C-DE4C-4458-A921-DE574A032E3D}">
      <dgm:prSet phldrT="[Text]" custT="1"/>
      <dgm:spPr/>
      <dgm:t>
        <a:bodyPr/>
        <a:lstStyle/>
        <a:p>
          <a:r>
            <a:rPr lang="en-IN" sz="1200" dirty="0">
              <a:solidFill>
                <a:schemeClr val="bg1"/>
              </a:solidFill>
            </a:rPr>
            <a:t>Packaging cost per delivery</a:t>
          </a:r>
        </a:p>
      </dgm:t>
    </dgm:pt>
    <dgm:pt modelId="{69D0254E-914C-4F0B-9E9D-62410A828F1D}" type="parTrans" cxnId="{15A5F5AB-D0AB-4975-A64E-D3FFEE84A064}">
      <dgm:prSet/>
      <dgm:spPr/>
      <dgm:t>
        <a:bodyPr/>
        <a:lstStyle/>
        <a:p>
          <a:endParaRPr lang="en-IN"/>
        </a:p>
      </dgm:t>
    </dgm:pt>
    <dgm:pt modelId="{7CBE1C79-6F0A-4ABD-91FD-C4928C05FED0}" type="sibTrans" cxnId="{15A5F5AB-D0AB-4975-A64E-D3FFEE84A064}">
      <dgm:prSet/>
      <dgm:spPr/>
      <dgm:t>
        <a:bodyPr/>
        <a:lstStyle/>
        <a:p>
          <a:endParaRPr lang="en-IN"/>
        </a:p>
      </dgm:t>
    </dgm:pt>
    <dgm:pt modelId="{6026DCA1-4240-4094-B6B0-74CC9D9A5EE7}" type="pres">
      <dgm:prSet presAssocID="{80A178AD-F26D-4960-917E-DAD0032EA238}" presName="Name0" presStyleCnt="0">
        <dgm:presLayoutVars>
          <dgm:chMax/>
          <dgm:chPref val="1"/>
          <dgm:dir/>
          <dgm:animOne val="branch"/>
          <dgm:animLvl val="lvl"/>
          <dgm:resizeHandles/>
        </dgm:presLayoutVars>
      </dgm:prSet>
      <dgm:spPr/>
    </dgm:pt>
    <dgm:pt modelId="{4E86EAAC-7074-49F2-BDCF-31AC19181B1A}" type="pres">
      <dgm:prSet presAssocID="{14C00E50-BB07-45FA-9854-663D965C6D51}" presName="composite" presStyleCnt="0"/>
      <dgm:spPr/>
    </dgm:pt>
    <dgm:pt modelId="{190E255A-1207-4534-921C-F232EAE104D4}" type="pres">
      <dgm:prSet presAssocID="{14C00E50-BB07-45FA-9854-663D965C6D51}" presName="ParentAccent1" presStyleLbl="alignNode1" presStyleIdx="0" presStyleCnt="51"/>
      <dgm:spPr/>
    </dgm:pt>
    <dgm:pt modelId="{9D6D89C4-6F22-49BC-AC49-58C80CF09FD8}" type="pres">
      <dgm:prSet presAssocID="{14C00E50-BB07-45FA-9854-663D965C6D51}" presName="ParentAccent2" presStyleLbl="alignNode1" presStyleIdx="1" presStyleCnt="51"/>
      <dgm:spPr/>
    </dgm:pt>
    <dgm:pt modelId="{8DDF6160-EF79-40B1-AB1E-F33D51928D03}" type="pres">
      <dgm:prSet presAssocID="{14C00E50-BB07-45FA-9854-663D965C6D51}" presName="ParentAccent3" presStyleLbl="alignNode1" presStyleIdx="2" presStyleCnt="51"/>
      <dgm:spPr/>
    </dgm:pt>
    <dgm:pt modelId="{C9CBEEE8-5F2F-487E-861A-21ED29679134}" type="pres">
      <dgm:prSet presAssocID="{14C00E50-BB07-45FA-9854-663D965C6D51}" presName="ParentAccent4" presStyleLbl="alignNode1" presStyleIdx="3" presStyleCnt="51"/>
      <dgm:spPr/>
    </dgm:pt>
    <dgm:pt modelId="{0C5AE6F1-85A1-4054-A7AB-688413CD130C}" type="pres">
      <dgm:prSet presAssocID="{14C00E50-BB07-45FA-9854-663D965C6D51}" presName="ParentAccent5" presStyleLbl="alignNode1" presStyleIdx="4" presStyleCnt="51"/>
      <dgm:spPr/>
    </dgm:pt>
    <dgm:pt modelId="{14FB2640-8DA1-45CC-96DF-FC6855594121}" type="pres">
      <dgm:prSet presAssocID="{14C00E50-BB07-45FA-9854-663D965C6D51}" presName="ParentAccent6" presStyleLbl="alignNode1" presStyleIdx="5" presStyleCnt="51"/>
      <dgm:spPr/>
    </dgm:pt>
    <dgm:pt modelId="{94DE37C3-1D8B-4A73-9F20-969D2A3509F0}" type="pres">
      <dgm:prSet presAssocID="{14C00E50-BB07-45FA-9854-663D965C6D51}" presName="ParentAccent7" presStyleLbl="alignNode1" presStyleIdx="6" presStyleCnt="51"/>
      <dgm:spPr/>
    </dgm:pt>
    <dgm:pt modelId="{593B37BC-9CC4-401E-97EB-729DC15F0DA4}" type="pres">
      <dgm:prSet presAssocID="{14C00E50-BB07-45FA-9854-663D965C6D51}" presName="ParentAccent8" presStyleLbl="alignNode1" presStyleIdx="7" presStyleCnt="51"/>
      <dgm:spPr/>
    </dgm:pt>
    <dgm:pt modelId="{7E6917C9-0CF1-43B3-A8B3-6D54CC882512}" type="pres">
      <dgm:prSet presAssocID="{14C00E50-BB07-45FA-9854-663D965C6D51}" presName="ParentAccent9" presStyleLbl="alignNode1" presStyleIdx="8" presStyleCnt="51"/>
      <dgm:spPr/>
    </dgm:pt>
    <dgm:pt modelId="{E9E221D6-C6C3-404C-B7E6-93D43A343EF7}" type="pres">
      <dgm:prSet presAssocID="{14C00E50-BB07-45FA-9854-663D965C6D51}" presName="ParentAccent10" presStyleLbl="alignNode1" presStyleIdx="9" presStyleCnt="51"/>
      <dgm:spPr/>
    </dgm:pt>
    <dgm:pt modelId="{5C08A5E4-A4E9-4F37-8066-0DFDA24B43BF}" type="pres">
      <dgm:prSet presAssocID="{14C00E50-BB07-45FA-9854-663D965C6D51}" presName="Parent" presStyleLbl="alignNode1" presStyleIdx="10" presStyleCnt="51">
        <dgm:presLayoutVars>
          <dgm:chMax val="5"/>
          <dgm:chPref val="3"/>
          <dgm:bulletEnabled val="1"/>
        </dgm:presLayoutVars>
      </dgm:prSet>
      <dgm:spPr/>
    </dgm:pt>
    <dgm:pt modelId="{35457D79-7755-46D0-A6BA-5FA7FD01DB1D}" type="pres">
      <dgm:prSet presAssocID="{8ADF2ADB-F7D8-44D0-80BF-152E29A13C0A}" presName="Child1Accent1" presStyleLbl="alignNode1" presStyleIdx="11" presStyleCnt="51"/>
      <dgm:spPr/>
    </dgm:pt>
    <dgm:pt modelId="{BEAC6411-3D80-4949-BE6C-E2794639F9BE}" type="pres">
      <dgm:prSet presAssocID="{8ADF2ADB-F7D8-44D0-80BF-152E29A13C0A}" presName="Child1Accent2" presStyleLbl="alignNode1" presStyleIdx="12" presStyleCnt="51"/>
      <dgm:spPr/>
    </dgm:pt>
    <dgm:pt modelId="{286C09F9-7485-4485-861D-5C10084EAB7F}" type="pres">
      <dgm:prSet presAssocID="{8ADF2ADB-F7D8-44D0-80BF-152E29A13C0A}" presName="Child1Accent3" presStyleLbl="alignNode1" presStyleIdx="13" presStyleCnt="51"/>
      <dgm:spPr/>
    </dgm:pt>
    <dgm:pt modelId="{F37547E8-25A7-4804-A169-DA115367C8AB}" type="pres">
      <dgm:prSet presAssocID="{8ADF2ADB-F7D8-44D0-80BF-152E29A13C0A}" presName="Child1Accent4" presStyleLbl="alignNode1" presStyleIdx="14" presStyleCnt="51"/>
      <dgm:spPr/>
    </dgm:pt>
    <dgm:pt modelId="{5B6F91FA-A1C0-4A98-A8A4-DCF1BEB86C10}" type="pres">
      <dgm:prSet presAssocID="{8ADF2ADB-F7D8-44D0-80BF-152E29A13C0A}" presName="Child1Accent5" presStyleLbl="alignNode1" presStyleIdx="15" presStyleCnt="51"/>
      <dgm:spPr/>
    </dgm:pt>
    <dgm:pt modelId="{203912D7-9CF9-4315-B0A0-A5BD6365DCE3}" type="pres">
      <dgm:prSet presAssocID="{8ADF2ADB-F7D8-44D0-80BF-152E29A13C0A}" presName="Child1Accent6" presStyleLbl="alignNode1" presStyleIdx="16" presStyleCnt="51"/>
      <dgm:spPr/>
    </dgm:pt>
    <dgm:pt modelId="{D487139D-F2CF-4331-94D8-DB9B6794DF9F}" type="pres">
      <dgm:prSet presAssocID="{8ADF2ADB-F7D8-44D0-80BF-152E29A13C0A}" presName="Child1Accent7" presStyleLbl="alignNode1" presStyleIdx="17" presStyleCnt="51"/>
      <dgm:spPr/>
    </dgm:pt>
    <dgm:pt modelId="{E3431CD3-4316-44FB-842E-13F17C1B7C5D}" type="pres">
      <dgm:prSet presAssocID="{8ADF2ADB-F7D8-44D0-80BF-152E29A13C0A}" presName="Child1Accent8" presStyleLbl="alignNode1" presStyleIdx="18" presStyleCnt="51"/>
      <dgm:spPr/>
    </dgm:pt>
    <dgm:pt modelId="{EBE765D5-C1F5-400A-93FB-9DF72F5DB8E3}" type="pres">
      <dgm:prSet presAssocID="{8ADF2ADB-F7D8-44D0-80BF-152E29A13C0A}" presName="Child1Accent9" presStyleLbl="alignNode1" presStyleIdx="19" presStyleCnt="51"/>
      <dgm:spPr/>
    </dgm:pt>
    <dgm:pt modelId="{A25ABEF3-BCB6-4E64-99B0-ABD259CA670C}" type="pres">
      <dgm:prSet presAssocID="{8ADF2ADB-F7D8-44D0-80BF-152E29A13C0A}" presName="Child1" presStyleLbl="revTx" presStyleIdx="0" presStyleCnt="5" custScaleX="158694" custLinFactNeighborX="-32436" custLinFactNeighborY="1996">
        <dgm:presLayoutVars>
          <dgm:chMax/>
          <dgm:chPref val="0"/>
          <dgm:bulletEnabled val="1"/>
        </dgm:presLayoutVars>
      </dgm:prSet>
      <dgm:spPr/>
    </dgm:pt>
    <dgm:pt modelId="{758EEDC7-E72B-402E-89DB-3F7582304726}" type="pres">
      <dgm:prSet presAssocID="{AD980AB9-8FC1-43D4-B025-60F1E2CAF53D}" presName="Child2Accent1" presStyleLbl="alignNode1" presStyleIdx="20" presStyleCnt="51"/>
      <dgm:spPr/>
    </dgm:pt>
    <dgm:pt modelId="{C9563727-C422-4773-B3C8-28019C55F062}" type="pres">
      <dgm:prSet presAssocID="{AD980AB9-8FC1-43D4-B025-60F1E2CAF53D}" presName="Child2Accent2" presStyleLbl="alignNode1" presStyleIdx="21" presStyleCnt="51"/>
      <dgm:spPr/>
    </dgm:pt>
    <dgm:pt modelId="{53392262-5AF8-4E5F-97D6-D5E0DDC0AAB6}" type="pres">
      <dgm:prSet presAssocID="{AD980AB9-8FC1-43D4-B025-60F1E2CAF53D}" presName="Child2Accent3" presStyleLbl="alignNode1" presStyleIdx="22" presStyleCnt="51"/>
      <dgm:spPr/>
    </dgm:pt>
    <dgm:pt modelId="{5734984D-2634-4EF6-9543-6FCFB95B18CA}" type="pres">
      <dgm:prSet presAssocID="{AD980AB9-8FC1-43D4-B025-60F1E2CAF53D}" presName="Child2Accent4" presStyleLbl="alignNode1" presStyleIdx="23" presStyleCnt="51"/>
      <dgm:spPr/>
    </dgm:pt>
    <dgm:pt modelId="{67CCA256-155A-4E3E-9FD7-B517E9143A1B}" type="pres">
      <dgm:prSet presAssocID="{AD980AB9-8FC1-43D4-B025-60F1E2CAF53D}" presName="Child2Accent5" presStyleLbl="alignNode1" presStyleIdx="24" presStyleCnt="51"/>
      <dgm:spPr/>
    </dgm:pt>
    <dgm:pt modelId="{EABDA6A7-AEEA-4EAF-8C16-BAA998F995C9}" type="pres">
      <dgm:prSet presAssocID="{AD980AB9-8FC1-43D4-B025-60F1E2CAF53D}" presName="Child2Accent6" presStyleLbl="alignNode1" presStyleIdx="25" presStyleCnt="51"/>
      <dgm:spPr/>
    </dgm:pt>
    <dgm:pt modelId="{F2CA9FC1-30D3-4753-A49A-3D87714ED8DB}" type="pres">
      <dgm:prSet presAssocID="{AD980AB9-8FC1-43D4-B025-60F1E2CAF53D}" presName="Child2Accent7" presStyleLbl="alignNode1" presStyleIdx="26" presStyleCnt="51"/>
      <dgm:spPr/>
    </dgm:pt>
    <dgm:pt modelId="{E9280B79-E138-4036-8250-962466DF38AD}" type="pres">
      <dgm:prSet presAssocID="{AD980AB9-8FC1-43D4-B025-60F1E2CAF53D}" presName="Child2" presStyleLbl="revTx" presStyleIdx="1" presStyleCnt="5" custScaleX="158694" custLinFactNeighborX="-12708">
        <dgm:presLayoutVars>
          <dgm:chMax/>
          <dgm:chPref val="0"/>
          <dgm:bulletEnabled val="1"/>
        </dgm:presLayoutVars>
      </dgm:prSet>
      <dgm:spPr/>
    </dgm:pt>
    <dgm:pt modelId="{003C8533-1759-408B-9875-5E4B25E77EBA}" type="pres">
      <dgm:prSet presAssocID="{54F765BF-7340-4601-92BD-89DB50923D6A}" presName="Child3Accent1" presStyleLbl="alignNode1" presStyleIdx="27" presStyleCnt="51"/>
      <dgm:spPr/>
    </dgm:pt>
    <dgm:pt modelId="{C2B5D1D9-8AE0-4E89-BCAC-99AEE8348A3E}" type="pres">
      <dgm:prSet presAssocID="{54F765BF-7340-4601-92BD-89DB50923D6A}" presName="Child3Accent2" presStyleLbl="alignNode1" presStyleIdx="28" presStyleCnt="51"/>
      <dgm:spPr/>
    </dgm:pt>
    <dgm:pt modelId="{C7C15B43-1ABD-4CF0-9981-DC2496291228}" type="pres">
      <dgm:prSet presAssocID="{54F765BF-7340-4601-92BD-89DB50923D6A}" presName="Child3Accent3" presStyleLbl="alignNode1" presStyleIdx="29" presStyleCnt="51"/>
      <dgm:spPr/>
    </dgm:pt>
    <dgm:pt modelId="{DC4D4DE6-0E25-474D-BEFE-62147798585D}" type="pres">
      <dgm:prSet presAssocID="{54F765BF-7340-4601-92BD-89DB50923D6A}" presName="Child3Accent4" presStyleLbl="alignNode1" presStyleIdx="30" presStyleCnt="51"/>
      <dgm:spPr/>
    </dgm:pt>
    <dgm:pt modelId="{5D2E1F5C-7C6D-4F9E-9C74-748EDA3A9C65}" type="pres">
      <dgm:prSet presAssocID="{54F765BF-7340-4601-92BD-89DB50923D6A}" presName="Child3Accent5" presStyleLbl="alignNode1" presStyleIdx="31" presStyleCnt="51"/>
      <dgm:spPr/>
    </dgm:pt>
    <dgm:pt modelId="{7F0BE110-6CB2-46A5-833F-F860460C990A}" type="pres">
      <dgm:prSet presAssocID="{54F765BF-7340-4601-92BD-89DB50923D6A}" presName="Child3Accent6" presStyleLbl="alignNode1" presStyleIdx="32" presStyleCnt="51"/>
      <dgm:spPr/>
    </dgm:pt>
    <dgm:pt modelId="{D1C315FE-C48B-4BAF-9B60-FBA3B58AD98E}" type="pres">
      <dgm:prSet presAssocID="{54F765BF-7340-4601-92BD-89DB50923D6A}" presName="Child3Accent7" presStyleLbl="alignNode1" presStyleIdx="33" presStyleCnt="51"/>
      <dgm:spPr/>
    </dgm:pt>
    <dgm:pt modelId="{DFE3DF31-C948-4803-9324-D94D715511EE}" type="pres">
      <dgm:prSet presAssocID="{54F765BF-7340-4601-92BD-89DB50923D6A}" presName="Child3" presStyleLbl="revTx" presStyleIdx="2" presStyleCnt="5" custScaleX="268463" custLinFactNeighborX="-3479" custLinFactNeighborY="-25946">
        <dgm:presLayoutVars>
          <dgm:chMax/>
          <dgm:chPref val="0"/>
          <dgm:bulletEnabled val="1"/>
        </dgm:presLayoutVars>
      </dgm:prSet>
      <dgm:spPr/>
    </dgm:pt>
    <dgm:pt modelId="{3CCDFB92-CA55-4A74-BC0A-BD9990101AE8}" type="pres">
      <dgm:prSet presAssocID="{5126A8E4-0DAE-4ECD-A105-F3519F0295C3}" presName="Child4Accent1" presStyleLbl="alignNode1" presStyleIdx="34" presStyleCnt="51"/>
      <dgm:spPr/>
    </dgm:pt>
    <dgm:pt modelId="{2DF1A742-936D-48CF-BE34-3E94F92C95FF}" type="pres">
      <dgm:prSet presAssocID="{5126A8E4-0DAE-4ECD-A105-F3519F0295C3}" presName="Child4Accent2" presStyleLbl="alignNode1" presStyleIdx="35" presStyleCnt="51"/>
      <dgm:spPr/>
    </dgm:pt>
    <dgm:pt modelId="{F46FE178-8188-47C5-B843-A457D58E0878}" type="pres">
      <dgm:prSet presAssocID="{5126A8E4-0DAE-4ECD-A105-F3519F0295C3}" presName="Child4Accent3" presStyleLbl="alignNode1" presStyleIdx="36" presStyleCnt="51"/>
      <dgm:spPr/>
    </dgm:pt>
    <dgm:pt modelId="{E00FA22F-CB4B-4046-A18E-0AF8E6C6ABFD}" type="pres">
      <dgm:prSet presAssocID="{5126A8E4-0DAE-4ECD-A105-F3519F0295C3}" presName="Child4Accent4" presStyleLbl="alignNode1" presStyleIdx="37" presStyleCnt="51"/>
      <dgm:spPr/>
    </dgm:pt>
    <dgm:pt modelId="{E725D81A-EDC4-4E39-80F8-6414FEF3597B}" type="pres">
      <dgm:prSet presAssocID="{5126A8E4-0DAE-4ECD-A105-F3519F0295C3}" presName="Child4Accent5" presStyleLbl="alignNode1" presStyleIdx="38" presStyleCnt="51"/>
      <dgm:spPr/>
    </dgm:pt>
    <dgm:pt modelId="{067C3105-2446-4BC7-B295-5B2E1226B7FB}" type="pres">
      <dgm:prSet presAssocID="{5126A8E4-0DAE-4ECD-A105-F3519F0295C3}" presName="Child4Accent6" presStyleLbl="alignNode1" presStyleIdx="39" presStyleCnt="51"/>
      <dgm:spPr/>
    </dgm:pt>
    <dgm:pt modelId="{77910377-88B1-4F49-B884-09E78126317C}" type="pres">
      <dgm:prSet presAssocID="{5126A8E4-0DAE-4ECD-A105-F3519F0295C3}" presName="Child4Accent7" presStyleLbl="alignNode1" presStyleIdx="40" presStyleCnt="51"/>
      <dgm:spPr/>
    </dgm:pt>
    <dgm:pt modelId="{D601C3A6-BF6E-40EE-9E99-A7AAF6AB66C6}" type="pres">
      <dgm:prSet presAssocID="{5126A8E4-0DAE-4ECD-A105-F3519F0295C3}" presName="Child4Accent8" presStyleLbl="alignNode1" presStyleIdx="41" presStyleCnt="51"/>
      <dgm:spPr/>
    </dgm:pt>
    <dgm:pt modelId="{73A48644-AD2D-4CC9-A26E-35D48DAE3AC6}" type="pres">
      <dgm:prSet presAssocID="{5126A8E4-0DAE-4ECD-A105-F3519F0295C3}" presName="Child4" presStyleLbl="revTx" presStyleIdx="3" presStyleCnt="5" custScaleX="188083" custLinFactNeighborX="-42954" custLinFactNeighborY="-7983">
        <dgm:presLayoutVars>
          <dgm:chMax/>
          <dgm:chPref val="0"/>
          <dgm:bulletEnabled val="1"/>
        </dgm:presLayoutVars>
      </dgm:prSet>
      <dgm:spPr/>
    </dgm:pt>
    <dgm:pt modelId="{0319D137-AC90-4D79-9B28-EF7FA3847156}" type="pres">
      <dgm:prSet presAssocID="{D2DA397C-DE4C-4458-A921-DE574A032E3D}" presName="Child5Accent1" presStyleLbl="alignNode1" presStyleIdx="42" presStyleCnt="51"/>
      <dgm:spPr/>
    </dgm:pt>
    <dgm:pt modelId="{99932FB0-F803-4867-B445-110E91305226}" type="pres">
      <dgm:prSet presAssocID="{D2DA397C-DE4C-4458-A921-DE574A032E3D}" presName="Child5Accent2" presStyleLbl="alignNode1" presStyleIdx="43" presStyleCnt="51"/>
      <dgm:spPr/>
    </dgm:pt>
    <dgm:pt modelId="{FAB88D6E-EB24-457B-973C-2EFBC305F3A2}" type="pres">
      <dgm:prSet presAssocID="{D2DA397C-DE4C-4458-A921-DE574A032E3D}" presName="Child5Accent3" presStyleLbl="alignNode1" presStyleIdx="44" presStyleCnt="51"/>
      <dgm:spPr/>
    </dgm:pt>
    <dgm:pt modelId="{BC9EF8B8-2620-483F-BE7D-3C8C96AFE41C}" type="pres">
      <dgm:prSet presAssocID="{D2DA397C-DE4C-4458-A921-DE574A032E3D}" presName="Child5Accent4" presStyleLbl="alignNode1" presStyleIdx="45" presStyleCnt="51"/>
      <dgm:spPr/>
    </dgm:pt>
    <dgm:pt modelId="{47F73440-917B-4627-B63C-7EF4CBA222AD}" type="pres">
      <dgm:prSet presAssocID="{D2DA397C-DE4C-4458-A921-DE574A032E3D}" presName="Child5Accent5" presStyleLbl="alignNode1" presStyleIdx="46" presStyleCnt="51"/>
      <dgm:spPr/>
    </dgm:pt>
    <dgm:pt modelId="{9D6713EE-E3CE-4FCE-9282-74E05A3BF9AC}" type="pres">
      <dgm:prSet presAssocID="{D2DA397C-DE4C-4458-A921-DE574A032E3D}" presName="Child5Accent6" presStyleLbl="alignNode1" presStyleIdx="47" presStyleCnt="51"/>
      <dgm:spPr/>
    </dgm:pt>
    <dgm:pt modelId="{5FFEB1D3-0F3F-4D34-9F8A-21C631A09558}" type="pres">
      <dgm:prSet presAssocID="{D2DA397C-DE4C-4458-A921-DE574A032E3D}" presName="Child5Accent7" presStyleLbl="alignNode1" presStyleIdx="48" presStyleCnt="51"/>
      <dgm:spPr/>
    </dgm:pt>
    <dgm:pt modelId="{508B8783-B196-40FB-8B4A-9AC4455AC110}" type="pres">
      <dgm:prSet presAssocID="{D2DA397C-DE4C-4458-A921-DE574A032E3D}" presName="Child5Accent8" presStyleLbl="alignNode1" presStyleIdx="49" presStyleCnt="51"/>
      <dgm:spPr/>
    </dgm:pt>
    <dgm:pt modelId="{31C52D50-9A61-45B3-B82F-2D5C2316D58C}" type="pres">
      <dgm:prSet presAssocID="{D2DA397C-DE4C-4458-A921-DE574A032E3D}" presName="Child5Accent9" presStyleLbl="alignNode1" presStyleIdx="50" presStyleCnt="51"/>
      <dgm:spPr/>
    </dgm:pt>
    <dgm:pt modelId="{4CF187EB-F1D9-4600-BAD8-62B0B725FF58}" type="pres">
      <dgm:prSet presAssocID="{D2DA397C-DE4C-4458-A921-DE574A032E3D}" presName="Child5" presStyleLbl="revTx" presStyleIdx="4" presStyleCnt="5" custScaleX="221484">
        <dgm:presLayoutVars>
          <dgm:chMax/>
          <dgm:chPref val="0"/>
          <dgm:bulletEnabled val="1"/>
        </dgm:presLayoutVars>
      </dgm:prSet>
      <dgm:spPr/>
    </dgm:pt>
  </dgm:ptLst>
  <dgm:cxnLst>
    <dgm:cxn modelId="{9E35B334-B263-4142-AB7D-6F2C2048D3EB}" type="presOf" srcId="{54F765BF-7340-4601-92BD-89DB50923D6A}" destId="{DFE3DF31-C948-4803-9324-D94D715511EE}" srcOrd="0" destOrd="0" presId="urn:microsoft.com/office/officeart/2011/layout/ConvergingText"/>
    <dgm:cxn modelId="{EEB9DB43-0995-4105-89E7-725E366F571E}" srcId="{80A178AD-F26D-4960-917E-DAD0032EA238}" destId="{14C00E50-BB07-45FA-9854-663D965C6D51}" srcOrd="0" destOrd="0" parTransId="{73990A09-07D5-4387-8B01-5D5D62ED371A}" sibTransId="{50D033A8-2131-4EE8-A361-5960F2023B83}"/>
    <dgm:cxn modelId="{15533747-D070-4842-8C9C-62377F2F5A15}" type="presOf" srcId="{D2DA397C-DE4C-4458-A921-DE574A032E3D}" destId="{4CF187EB-F1D9-4600-BAD8-62B0B725FF58}" srcOrd="0" destOrd="0" presId="urn:microsoft.com/office/officeart/2011/layout/ConvergingText"/>
    <dgm:cxn modelId="{A60F834A-2028-43AC-824A-DF371709AF53}" srcId="{14C00E50-BB07-45FA-9854-663D965C6D51}" destId="{8ADF2ADB-F7D8-44D0-80BF-152E29A13C0A}" srcOrd="0" destOrd="0" parTransId="{70D80BE4-2BD3-499D-85A4-BB6A2278B3FB}" sibTransId="{4D485C85-E675-412D-9973-A9D6113FD745}"/>
    <dgm:cxn modelId="{9D48994B-1F85-4087-B1FA-300D390AAF8C}" srcId="{14C00E50-BB07-45FA-9854-663D965C6D51}" destId="{AD980AB9-8FC1-43D4-B025-60F1E2CAF53D}" srcOrd="1" destOrd="0" parTransId="{333661C7-719B-4749-9D66-EC42E0E3CA22}" sibTransId="{D03B3623-3A80-47AC-A94F-6FAA7688C130}"/>
    <dgm:cxn modelId="{ADC3A84B-C4CB-4F69-9375-2CF44797AA17}" type="presOf" srcId="{5126A8E4-0DAE-4ECD-A105-F3519F0295C3}" destId="{73A48644-AD2D-4CC9-A26E-35D48DAE3AC6}" srcOrd="0" destOrd="0" presId="urn:microsoft.com/office/officeart/2011/layout/ConvergingText"/>
    <dgm:cxn modelId="{7DBF148D-7935-4901-8C78-66539B6AF40C}" srcId="{14C00E50-BB07-45FA-9854-663D965C6D51}" destId="{5126A8E4-0DAE-4ECD-A105-F3519F0295C3}" srcOrd="3" destOrd="0" parTransId="{ED46F1F3-1D5F-4265-BBD3-C9586E4C5C1F}" sibTransId="{FCE199F3-C3BD-4441-9F7A-FDB42E2BEF67}"/>
    <dgm:cxn modelId="{8BBF869D-1ECF-4EDD-A8D4-8BBA11844E6A}" type="presOf" srcId="{14C00E50-BB07-45FA-9854-663D965C6D51}" destId="{5C08A5E4-A4E9-4F37-8066-0DFDA24B43BF}" srcOrd="0" destOrd="0" presId="urn:microsoft.com/office/officeart/2011/layout/ConvergingText"/>
    <dgm:cxn modelId="{15A5F5AB-D0AB-4975-A64E-D3FFEE84A064}" srcId="{14C00E50-BB07-45FA-9854-663D965C6D51}" destId="{D2DA397C-DE4C-4458-A921-DE574A032E3D}" srcOrd="4" destOrd="0" parTransId="{69D0254E-914C-4F0B-9E9D-62410A828F1D}" sibTransId="{7CBE1C79-6F0A-4ABD-91FD-C4928C05FED0}"/>
    <dgm:cxn modelId="{51DC11BD-5A9E-4BFF-A780-F0269F242513}" srcId="{14C00E50-BB07-45FA-9854-663D965C6D51}" destId="{54F765BF-7340-4601-92BD-89DB50923D6A}" srcOrd="2" destOrd="0" parTransId="{DA20E8ED-5EA6-4A0A-9CF7-5EAC727D2917}" sibTransId="{28395127-D4FD-4305-8276-5B48FA2BA54A}"/>
    <dgm:cxn modelId="{D8A7DDC4-4E94-466C-8E0E-76E4EEDD58E2}" type="presOf" srcId="{8ADF2ADB-F7D8-44D0-80BF-152E29A13C0A}" destId="{A25ABEF3-BCB6-4E64-99B0-ABD259CA670C}" srcOrd="0" destOrd="0" presId="urn:microsoft.com/office/officeart/2011/layout/ConvergingText"/>
    <dgm:cxn modelId="{31D0E4CF-E78A-4C7B-9201-E8BABF99D29D}" type="presOf" srcId="{80A178AD-F26D-4960-917E-DAD0032EA238}" destId="{6026DCA1-4240-4094-B6B0-74CC9D9A5EE7}" srcOrd="0" destOrd="0" presId="urn:microsoft.com/office/officeart/2011/layout/ConvergingText"/>
    <dgm:cxn modelId="{EB61A8D4-9DA3-43B1-86E7-B96573853CCD}" type="presOf" srcId="{AD980AB9-8FC1-43D4-B025-60F1E2CAF53D}" destId="{E9280B79-E138-4036-8250-962466DF38AD}" srcOrd="0" destOrd="0" presId="urn:microsoft.com/office/officeart/2011/layout/ConvergingText"/>
    <dgm:cxn modelId="{6255B870-4C64-4E1E-A173-AE2C06FD9468}" type="presParOf" srcId="{6026DCA1-4240-4094-B6B0-74CC9D9A5EE7}" destId="{4E86EAAC-7074-49F2-BDCF-31AC19181B1A}" srcOrd="0" destOrd="0" presId="urn:microsoft.com/office/officeart/2011/layout/ConvergingText"/>
    <dgm:cxn modelId="{C2E533B4-ABAD-47BC-8D57-7C0A132264D7}" type="presParOf" srcId="{4E86EAAC-7074-49F2-BDCF-31AC19181B1A}" destId="{190E255A-1207-4534-921C-F232EAE104D4}" srcOrd="0" destOrd="0" presId="urn:microsoft.com/office/officeart/2011/layout/ConvergingText"/>
    <dgm:cxn modelId="{18BCF62F-C8F3-4021-9B6C-3AFA72FFBCA2}" type="presParOf" srcId="{4E86EAAC-7074-49F2-BDCF-31AC19181B1A}" destId="{9D6D89C4-6F22-49BC-AC49-58C80CF09FD8}" srcOrd="1" destOrd="0" presId="urn:microsoft.com/office/officeart/2011/layout/ConvergingText"/>
    <dgm:cxn modelId="{BCA88E0D-F6F9-4364-8957-A3CB4B7F3D71}" type="presParOf" srcId="{4E86EAAC-7074-49F2-BDCF-31AC19181B1A}" destId="{8DDF6160-EF79-40B1-AB1E-F33D51928D03}" srcOrd="2" destOrd="0" presId="urn:microsoft.com/office/officeart/2011/layout/ConvergingText"/>
    <dgm:cxn modelId="{3983AB50-822E-4CD1-B458-446018BF8275}" type="presParOf" srcId="{4E86EAAC-7074-49F2-BDCF-31AC19181B1A}" destId="{C9CBEEE8-5F2F-487E-861A-21ED29679134}" srcOrd="3" destOrd="0" presId="urn:microsoft.com/office/officeart/2011/layout/ConvergingText"/>
    <dgm:cxn modelId="{14D1C4AB-D988-4FB9-BD29-9105681508B8}" type="presParOf" srcId="{4E86EAAC-7074-49F2-BDCF-31AC19181B1A}" destId="{0C5AE6F1-85A1-4054-A7AB-688413CD130C}" srcOrd="4" destOrd="0" presId="urn:microsoft.com/office/officeart/2011/layout/ConvergingText"/>
    <dgm:cxn modelId="{CA8A78B1-148A-49EB-AAFF-946DE3D97AC9}" type="presParOf" srcId="{4E86EAAC-7074-49F2-BDCF-31AC19181B1A}" destId="{14FB2640-8DA1-45CC-96DF-FC6855594121}" srcOrd="5" destOrd="0" presId="urn:microsoft.com/office/officeart/2011/layout/ConvergingText"/>
    <dgm:cxn modelId="{BA2B2788-F8C6-4187-8CC0-4A86558CF64A}" type="presParOf" srcId="{4E86EAAC-7074-49F2-BDCF-31AC19181B1A}" destId="{94DE37C3-1D8B-4A73-9F20-969D2A3509F0}" srcOrd="6" destOrd="0" presId="urn:microsoft.com/office/officeart/2011/layout/ConvergingText"/>
    <dgm:cxn modelId="{26681989-E5BE-43CF-816B-DEF6E330DD0D}" type="presParOf" srcId="{4E86EAAC-7074-49F2-BDCF-31AC19181B1A}" destId="{593B37BC-9CC4-401E-97EB-729DC15F0DA4}" srcOrd="7" destOrd="0" presId="urn:microsoft.com/office/officeart/2011/layout/ConvergingText"/>
    <dgm:cxn modelId="{F095A083-56A3-4D21-A7F3-A7A459F0C64C}" type="presParOf" srcId="{4E86EAAC-7074-49F2-BDCF-31AC19181B1A}" destId="{7E6917C9-0CF1-43B3-A8B3-6D54CC882512}" srcOrd="8" destOrd="0" presId="urn:microsoft.com/office/officeart/2011/layout/ConvergingText"/>
    <dgm:cxn modelId="{F8E29FC5-906B-41AB-BA1E-F8E1B557DB43}" type="presParOf" srcId="{4E86EAAC-7074-49F2-BDCF-31AC19181B1A}" destId="{E9E221D6-C6C3-404C-B7E6-93D43A343EF7}" srcOrd="9" destOrd="0" presId="urn:microsoft.com/office/officeart/2011/layout/ConvergingText"/>
    <dgm:cxn modelId="{9E53C748-6FBB-4DD4-9903-F3C171278D22}" type="presParOf" srcId="{4E86EAAC-7074-49F2-BDCF-31AC19181B1A}" destId="{5C08A5E4-A4E9-4F37-8066-0DFDA24B43BF}" srcOrd="10" destOrd="0" presId="urn:microsoft.com/office/officeart/2011/layout/ConvergingText"/>
    <dgm:cxn modelId="{2EFC0DDA-4471-4F91-B757-90DF5C27F5D4}" type="presParOf" srcId="{4E86EAAC-7074-49F2-BDCF-31AC19181B1A}" destId="{35457D79-7755-46D0-A6BA-5FA7FD01DB1D}" srcOrd="11" destOrd="0" presId="urn:microsoft.com/office/officeart/2011/layout/ConvergingText"/>
    <dgm:cxn modelId="{30638DF5-26DF-492E-80B7-578A1D3F3D4A}" type="presParOf" srcId="{4E86EAAC-7074-49F2-BDCF-31AC19181B1A}" destId="{BEAC6411-3D80-4949-BE6C-E2794639F9BE}" srcOrd="12" destOrd="0" presId="urn:microsoft.com/office/officeart/2011/layout/ConvergingText"/>
    <dgm:cxn modelId="{3936AC1F-5C73-4995-B528-C598A0B9DC95}" type="presParOf" srcId="{4E86EAAC-7074-49F2-BDCF-31AC19181B1A}" destId="{286C09F9-7485-4485-861D-5C10084EAB7F}" srcOrd="13" destOrd="0" presId="urn:microsoft.com/office/officeart/2011/layout/ConvergingText"/>
    <dgm:cxn modelId="{5BC74015-147E-4080-B6B1-06B50DAD8661}" type="presParOf" srcId="{4E86EAAC-7074-49F2-BDCF-31AC19181B1A}" destId="{F37547E8-25A7-4804-A169-DA115367C8AB}" srcOrd="14" destOrd="0" presId="urn:microsoft.com/office/officeart/2011/layout/ConvergingText"/>
    <dgm:cxn modelId="{7FD84EB6-C823-4099-AA9A-796B997D8309}" type="presParOf" srcId="{4E86EAAC-7074-49F2-BDCF-31AC19181B1A}" destId="{5B6F91FA-A1C0-4A98-A8A4-DCF1BEB86C10}" srcOrd="15" destOrd="0" presId="urn:microsoft.com/office/officeart/2011/layout/ConvergingText"/>
    <dgm:cxn modelId="{37B0920E-A43F-4B08-B7DB-8A244D8C3951}" type="presParOf" srcId="{4E86EAAC-7074-49F2-BDCF-31AC19181B1A}" destId="{203912D7-9CF9-4315-B0A0-A5BD6365DCE3}" srcOrd="16" destOrd="0" presId="urn:microsoft.com/office/officeart/2011/layout/ConvergingText"/>
    <dgm:cxn modelId="{5E3EB5DC-1237-4624-9D38-D26C09625EF0}" type="presParOf" srcId="{4E86EAAC-7074-49F2-BDCF-31AC19181B1A}" destId="{D487139D-F2CF-4331-94D8-DB9B6794DF9F}" srcOrd="17" destOrd="0" presId="urn:microsoft.com/office/officeart/2011/layout/ConvergingText"/>
    <dgm:cxn modelId="{86FD07CA-289D-4C92-AD92-5BB43C908A2A}" type="presParOf" srcId="{4E86EAAC-7074-49F2-BDCF-31AC19181B1A}" destId="{E3431CD3-4316-44FB-842E-13F17C1B7C5D}" srcOrd="18" destOrd="0" presId="urn:microsoft.com/office/officeart/2011/layout/ConvergingText"/>
    <dgm:cxn modelId="{D69BBA65-81A5-43DB-9936-5103E4532BC9}" type="presParOf" srcId="{4E86EAAC-7074-49F2-BDCF-31AC19181B1A}" destId="{EBE765D5-C1F5-400A-93FB-9DF72F5DB8E3}" srcOrd="19" destOrd="0" presId="urn:microsoft.com/office/officeart/2011/layout/ConvergingText"/>
    <dgm:cxn modelId="{7F19EBA9-30DC-40FB-8769-96D87D778D61}" type="presParOf" srcId="{4E86EAAC-7074-49F2-BDCF-31AC19181B1A}" destId="{A25ABEF3-BCB6-4E64-99B0-ABD259CA670C}" srcOrd="20" destOrd="0" presId="urn:microsoft.com/office/officeart/2011/layout/ConvergingText"/>
    <dgm:cxn modelId="{10064AD0-ADAE-4C38-A536-C0F837F59F06}" type="presParOf" srcId="{4E86EAAC-7074-49F2-BDCF-31AC19181B1A}" destId="{758EEDC7-E72B-402E-89DB-3F7582304726}" srcOrd="21" destOrd="0" presId="urn:microsoft.com/office/officeart/2011/layout/ConvergingText"/>
    <dgm:cxn modelId="{F311CCF0-870F-4E25-A2D1-6984C83DF87D}" type="presParOf" srcId="{4E86EAAC-7074-49F2-BDCF-31AC19181B1A}" destId="{C9563727-C422-4773-B3C8-28019C55F062}" srcOrd="22" destOrd="0" presId="urn:microsoft.com/office/officeart/2011/layout/ConvergingText"/>
    <dgm:cxn modelId="{DC081B18-2CF9-46BA-8889-098AEA08C6AB}" type="presParOf" srcId="{4E86EAAC-7074-49F2-BDCF-31AC19181B1A}" destId="{53392262-5AF8-4E5F-97D6-D5E0DDC0AAB6}" srcOrd="23" destOrd="0" presId="urn:microsoft.com/office/officeart/2011/layout/ConvergingText"/>
    <dgm:cxn modelId="{1AD11B83-1126-41D2-82DE-C3B83C232D5B}" type="presParOf" srcId="{4E86EAAC-7074-49F2-BDCF-31AC19181B1A}" destId="{5734984D-2634-4EF6-9543-6FCFB95B18CA}" srcOrd="24" destOrd="0" presId="urn:microsoft.com/office/officeart/2011/layout/ConvergingText"/>
    <dgm:cxn modelId="{97631496-5A8D-48AA-9014-D521C65EAFD5}" type="presParOf" srcId="{4E86EAAC-7074-49F2-BDCF-31AC19181B1A}" destId="{67CCA256-155A-4E3E-9FD7-B517E9143A1B}" srcOrd="25" destOrd="0" presId="urn:microsoft.com/office/officeart/2011/layout/ConvergingText"/>
    <dgm:cxn modelId="{628913D5-9C3C-46CB-AA76-826C3C1B4C2B}" type="presParOf" srcId="{4E86EAAC-7074-49F2-BDCF-31AC19181B1A}" destId="{EABDA6A7-AEEA-4EAF-8C16-BAA998F995C9}" srcOrd="26" destOrd="0" presId="urn:microsoft.com/office/officeart/2011/layout/ConvergingText"/>
    <dgm:cxn modelId="{C8C45808-A3AB-491C-A526-570B4513D7AB}" type="presParOf" srcId="{4E86EAAC-7074-49F2-BDCF-31AC19181B1A}" destId="{F2CA9FC1-30D3-4753-A49A-3D87714ED8DB}" srcOrd="27" destOrd="0" presId="urn:microsoft.com/office/officeart/2011/layout/ConvergingText"/>
    <dgm:cxn modelId="{81012F6A-E0BE-48C3-AD05-FFE572E46679}" type="presParOf" srcId="{4E86EAAC-7074-49F2-BDCF-31AC19181B1A}" destId="{E9280B79-E138-4036-8250-962466DF38AD}" srcOrd="28" destOrd="0" presId="urn:microsoft.com/office/officeart/2011/layout/ConvergingText"/>
    <dgm:cxn modelId="{1988C01D-DB44-4B4C-8680-487BD32D2BFC}" type="presParOf" srcId="{4E86EAAC-7074-49F2-BDCF-31AC19181B1A}" destId="{003C8533-1759-408B-9875-5E4B25E77EBA}" srcOrd="29" destOrd="0" presId="urn:microsoft.com/office/officeart/2011/layout/ConvergingText"/>
    <dgm:cxn modelId="{3AEDD70B-5CDE-45C3-A433-0DB2BB8E0869}" type="presParOf" srcId="{4E86EAAC-7074-49F2-BDCF-31AC19181B1A}" destId="{C2B5D1D9-8AE0-4E89-BCAC-99AEE8348A3E}" srcOrd="30" destOrd="0" presId="urn:microsoft.com/office/officeart/2011/layout/ConvergingText"/>
    <dgm:cxn modelId="{22D96058-DB5D-41AC-B6F8-ADCD3A4CB7BF}" type="presParOf" srcId="{4E86EAAC-7074-49F2-BDCF-31AC19181B1A}" destId="{C7C15B43-1ABD-4CF0-9981-DC2496291228}" srcOrd="31" destOrd="0" presId="urn:microsoft.com/office/officeart/2011/layout/ConvergingText"/>
    <dgm:cxn modelId="{FD066E05-FEAC-4991-A186-7E62C58C52A6}" type="presParOf" srcId="{4E86EAAC-7074-49F2-BDCF-31AC19181B1A}" destId="{DC4D4DE6-0E25-474D-BEFE-62147798585D}" srcOrd="32" destOrd="0" presId="urn:microsoft.com/office/officeart/2011/layout/ConvergingText"/>
    <dgm:cxn modelId="{24B0FC94-E3B0-4E73-8FF0-3C63E55E86E6}" type="presParOf" srcId="{4E86EAAC-7074-49F2-BDCF-31AC19181B1A}" destId="{5D2E1F5C-7C6D-4F9E-9C74-748EDA3A9C65}" srcOrd="33" destOrd="0" presId="urn:microsoft.com/office/officeart/2011/layout/ConvergingText"/>
    <dgm:cxn modelId="{DFC0C17C-32DD-43CF-92E1-2B233ED03F80}" type="presParOf" srcId="{4E86EAAC-7074-49F2-BDCF-31AC19181B1A}" destId="{7F0BE110-6CB2-46A5-833F-F860460C990A}" srcOrd="34" destOrd="0" presId="urn:microsoft.com/office/officeart/2011/layout/ConvergingText"/>
    <dgm:cxn modelId="{E9589D40-0F8F-42FF-AA51-183E151C09D9}" type="presParOf" srcId="{4E86EAAC-7074-49F2-BDCF-31AC19181B1A}" destId="{D1C315FE-C48B-4BAF-9B60-FBA3B58AD98E}" srcOrd="35" destOrd="0" presId="urn:microsoft.com/office/officeart/2011/layout/ConvergingText"/>
    <dgm:cxn modelId="{67AE8A31-D403-48D8-A626-A5F18DE23DDE}" type="presParOf" srcId="{4E86EAAC-7074-49F2-BDCF-31AC19181B1A}" destId="{DFE3DF31-C948-4803-9324-D94D715511EE}" srcOrd="36" destOrd="0" presId="urn:microsoft.com/office/officeart/2011/layout/ConvergingText"/>
    <dgm:cxn modelId="{AF9C6B3F-9AB3-451B-98EF-87169F082491}" type="presParOf" srcId="{4E86EAAC-7074-49F2-BDCF-31AC19181B1A}" destId="{3CCDFB92-CA55-4A74-BC0A-BD9990101AE8}" srcOrd="37" destOrd="0" presId="urn:microsoft.com/office/officeart/2011/layout/ConvergingText"/>
    <dgm:cxn modelId="{E01DE86D-13E2-4A28-966E-567F8A34B497}" type="presParOf" srcId="{4E86EAAC-7074-49F2-BDCF-31AC19181B1A}" destId="{2DF1A742-936D-48CF-BE34-3E94F92C95FF}" srcOrd="38" destOrd="0" presId="urn:microsoft.com/office/officeart/2011/layout/ConvergingText"/>
    <dgm:cxn modelId="{F047522A-AD9C-424A-89AF-FFBADD5145B0}" type="presParOf" srcId="{4E86EAAC-7074-49F2-BDCF-31AC19181B1A}" destId="{F46FE178-8188-47C5-B843-A457D58E0878}" srcOrd="39" destOrd="0" presId="urn:microsoft.com/office/officeart/2011/layout/ConvergingText"/>
    <dgm:cxn modelId="{D368367B-778C-45A1-BBD5-6AC76C69D975}" type="presParOf" srcId="{4E86EAAC-7074-49F2-BDCF-31AC19181B1A}" destId="{E00FA22F-CB4B-4046-A18E-0AF8E6C6ABFD}" srcOrd="40" destOrd="0" presId="urn:microsoft.com/office/officeart/2011/layout/ConvergingText"/>
    <dgm:cxn modelId="{4DF686FC-2F7B-45BE-983C-16353E63E45D}" type="presParOf" srcId="{4E86EAAC-7074-49F2-BDCF-31AC19181B1A}" destId="{E725D81A-EDC4-4E39-80F8-6414FEF3597B}" srcOrd="41" destOrd="0" presId="urn:microsoft.com/office/officeart/2011/layout/ConvergingText"/>
    <dgm:cxn modelId="{F72B1F7E-50F7-4000-BBA1-57754DDBDA3A}" type="presParOf" srcId="{4E86EAAC-7074-49F2-BDCF-31AC19181B1A}" destId="{067C3105-2446-4BC7-B295-5B2E1226B7FB}" srcOrd="42" destOrd="0" presId="urn:microsoft.com/office/officeart/2011/layout/ConvergingText"/>
    <dgm:cxn modelId="{5B21BB34-4EF3-45D3-9D24-DB3CC7499C91}" type="presParOf" srcId="{4E86EAAC-7074-49F2-BDCF-31AC19181B1A}" destId="{77910377-88B1-4F49-B884-09E78126317C}" srcOrd="43" destOrd="0" presId="urn:microsoft.com/office/officeart/2011/layout/ConvergingText"/>
    <dgm:cxn modelId="{D9AE58EA-001A-4990-A54F-6194CF6476E3}" type="presParOf" srcId="{4E86EAAC-7074-49F2-BDCF-31AC19181B1A}" destId="{D601C3A6-BF6E-40EE-9E99-A7AAF6AB66C6}" srcOrd="44" destOrd="0" presId="urn:microsoft.com/office/officeart/2011/layout/ConvergingText"/>
    <dgm:cxn modelId="{ADE7B928-E77B-4823-A5A7-95FD4594FFA1}" type="presParOf" srcId="{4E86EAAC-7074-49F2-BDCF-31AC19181B1A}" destId="{73A48644-AD2D-4CC9-A26E-35D48DAE3AC6}" srcOrd="45" destOrd="0" presId="urn:microsoft.com/office/officeart/2011/layout/ConvergingText"/>
    <dgm:cxn modelId="{CA075E3D-1321-474C-B86D-D2C1F67097AE}" type="presParOf" srcId="{4E86EAAC-7074-49F2-BDCF-31AC19181B1A}" destId="{0319D137-AC90-4D79-9B28-EF7FA3847156}" srcOrd="46" destOrd="0" presId="urn:microsoft.com/office/officeart/2011/layout/ConvergingText"/>
    <dgm:cxn modelId="{CA74E76C-E3A8-44FB-AE52-8D92D42658CB}" type="presParOf" srcId="{4E86EAAC-7074-49F2-BDCF-31AC19181B1A}" destId="{99932FB0-F803-4867-B445-110E91305226}" srcOrd="47" destOrd="0" presId="urn:microsoft.com/office/officeart/2011/layout/ConvergingText"/>
    <dgm:cxn modelId="{915C4890-B143-4983-A424-8EFE2883C0EA}" type="presParOf" srcId="{4E86EAAC-7074-49F2-BDCF-31AC19181B1A}" destId="{FAB88D6E-EB24-457B-973C-2EFBC305F3A2}" srcOrd="48" destOrd="0" presId="urn:microsoft.com/office/officeart/2011/layout/ConvergingText"/>
    <dgm:cxn modelId="{7E546674-5C1A-446A-96F4-F6B15472B7B1}" type="presParOf" srcId="{4E86EAAC-7074-49F2-BDCF-31AC19181B1A}" destId="{BC9EF8B8-2620-483F-BE7D-3C8C96AFE41C}" srcOrd="49" destOrd="0" presId="urn:microsoft.com/office/officeart/2011/layout/ConvergingText"/>
    <dgm:cxn modelId="{C02CE5A1-877D-4202-B291-1200A9A980F6}" type="presParOf" srcId="{4E86EAAC-7074-49F2-BDCF-31AC19181B1A}" destId="{47F73440-917B-4627-B63C-7EF4CBA222AD}" srcOrd="50" destOrd="0" presId="urn:microsoft.com/office/officeart/2011/layout/ConvergingText"/>
    <dgm:cxn modelId="{D9F0863A-BDDF-435E-8012-6D0986AB4173}" type="presParOf" srcId="{4E86EAAC-7074-49F2-BDCF-31AC19181B1A}" destId="{9D6713EE-E3CE-4FCE-9282-74E05A3BF9AC}" srcOrd="51" destOrd="0" presId="urn:microsoft.com/office/officeart/2011/layout/ConvergingText"/>
    <dgm:cxn modelId="{74CF2E39-33B4-4DAA-9546-CA61D0AEC4F2}" type="presParOf" srcId="{4E86EAAC-7074-49F2-BDCF-31AC19181B1A}" destId="{5FFEB1D3-0F3F-4D34-9F8A-21C631A09558}" srcOrd="52" destOrd="0" presId="urn:microsoft.com/office/officeart/2011/layout/ConvergingText"/>
    <dgm:cxn modelId="{43B93FA2-D63F-4D50-98A1-C853FD2FF6EA}" type="presParOf" srcId="{4E86EAAC-7074-49F2-BDCF-31AC19181B1A}" destId="{508B8783-B196-40FB-8B4A-9AC4455AC110}" srcOrd="53" destOrd="0" presId="urn:microsoft.com/office/officeart/2011/layout/ConvergingText"/>
    <dgm:cxn modelId="{DE5FE7E8-03FA-4C4E-B3B9-040460B93DF6}" type="presParOf" srcId="{4E86EAAC-7074-49F2-BDCF-31AC19181B1A}" destId="{31C52D50-9A61-45B3-B82F-2D5C2316D58C}" srcOrd="54" destOrd="0" presId="urn:microsoft.com/office/officeart/2011/layout/ConvergingText"/>
    <dgm:cxn modelId="{8F4929BA-F7FB-4495-9FB4-0EECB3CBAB81}" type="presParOf" srcId="{4E86EAAC-7074-49F2-BDCF-31AC19181B1A}" destId="{4CF187EB-F1D9-4600-BAD8-62B0B725FF58}" srcOrd="55" destOrd="0" presId="urn:microsoft.com/office/officeart/2011/layout/ConvergingTex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E255A-1207-4534-921C-F232EAE104D4}">
      <dsp:nvSpPr>
        <dsp:cNvPr id="0" name=""/>
        <dsp:cNvSpPr/>
      </dsp:nvSpPr>
      <dsp:spPr>
        <a:xfrm>
          <a:off x="9089038"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6D89C4-6F22-49BC-AC49-58C80CF09FD8}">
      <dsp:nvSpPr>
        <dsp:cNvPr id="0" name=""/>
        <dsp:cNvSpPr/>
      </dsp:nvSpPr>
      <dsp:spPr>
        <a:xfrm>
          <a:off x="8772334"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DF6160-EF79-40B1-AB1E-F33D51928D03}">
      <dsp:nvSpPr>
        <dsp:cNvPr id="0" name=""/>
        <dsp:cNvSpPr/>
      </dsp:nvSpPr>
      <dsp:spPr>
        <a:xfrm>
          <a:off x="8455631"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CBEEE8-5F2F-487E-861A-21ED29679134}">
      <dsp:nvSpPr>
        <dsp:cNvPr id="0" name=""/>
        <dsp:cNvSpPr/>
      </dsp:nvSpPr>
      <dsp:spPr>
        <a:xfrm>
          <a:off x="8139529"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5AE6F1-85A1-4054-A7AB-688413CD130C}">
      <dsp:nvSpPr>
        <dsp:cNvPr id="0" name=""/>
        <dsp:cNvSpPr/>
      </dsp:nvSpPr>
      <dsp:spPr>
        <a:xfrm>
          <a:off x="782282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FB2640-8DA1-45CC-96DF-FC6855594121}">
      <dsp:nvSpPr>
        <dsp:cNvPr id="0" name=""/>
        <dsp:cNvSpPr/>
      </dsp:nvSpPr>
      <dsp:spPr>
        <a:xfrm>
          <a:off x="7333320" y="2297153"/>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DE37C3-1D8B-4A73-9F20-969D2A3509F0}">
      <dsp:nvSpPr>
        <dsp:cNvPr id="0" name=""/>
        <dsp:cNvSpPr/>
      </dsp:nvSpPr>
      <dsp:spPr>
        <a:xfrm>
          <a:off x="8807256" y="2026440"/>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3B37BC-9CC4-401E-97EB-729DC15F0DA4}">
      <dsp:nvSpPr>
        <dsp:cNvPr id="0" name=""/>
        <dsp:cNvSpPr/>
      </dsp:nvSpPr>
      <dsp:spPr>
        <a:xfrm>
          <a:off x="8807256" y="274335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917C9-0CF1-43B3-A8B3-6D54CC882512}">
      <dsp:nvSpPr>
        <dsp:cNvPr id="0" name=""/>
        <dsp:cNvSpPr/>
      </dsp:nvSpPr>
      <dsp:spPr>
        <a:xfrm>
          <a:off x="8961393" y="2181976"/>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E221D6-C6C3-404C-B7E6-93D43A343EF7}">
      <dsp:nvSpPr>
        <dsp:cNvPr id="0" name=""/>
        <dsp:cNvSpPr/>
      </dsp:nvSpPr>
      <dsp:spPr>
        <a:xfrm>
          <a:off x="8971629" y="2589179"/>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8A5E4-A4E9-4F37-8066-0DFDA24B43BF}">
      <dsp:nvSpPr>
        <dsp:cNvPr id="0" name=""/>
        <dsp:cNvSpPr/>
      </dsp:nvSpPr>
      <dsp:spPr>
        <a:xfrm>
          <a:off x="5440324" y="1595204"/>
          <a:ext cx="1749696" cy="174988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Supplier Accreditation -Carbon foot print</a:t>
          </a:r>
        </a:p>
        <a:p>
          <a:pPr marL="0" lvl="0" indent="0" algn="ctr" defTabSz="666750">
            <a:lnSpc>
              <a:spcPct val="90000"/>
            </a:lnSpc>
            <a:spcBef>
              <a:spcPct val="0"/>
            </a:spcBef>
            <a:spcAft>
              <a:spcPct val="35000"/>
            </a:spcAft>
            <a:buNone/>
          </a:pPr>
          <a:r>
            <a:rPr lang="en-IN" sz="1500" kern="1200" dirty="0"/>
            <a:t>-ESG score</a:t>
          </a:r>
        </a:p>
      </dsp:txBody>
      <dsp:txXfrm>
        <a:off x="5696561" y="1851469"/>
        <a:ext cx="1237222" cy="1237354"/>
      </dsp:txXfrm>
    </dsp:sp>
    <dsp:sp modelId="{35457D79-7755-46D0-A6BA-5FA7FD01DB1D}">
      <dsp:nvSpPr>
        <dsp:cNvPr id="0" name=""/>
        <dsp:cNvSpPr/>
      </dsp:nvSpPr>
      <dsp:spPr>
        <a:xfrm>
          <a:off x="6142370" y="1116356"/>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AC6411-3D80-4949-BE6C-E2794639F9BE}">
      <dsp:nvSpPr>
        <dsp:cNvPr id="0" name=""/>
        <dsp:cNvSpPr/>
      </dsp:nvSpPr>
      <dsp:spPr>
        <a:xfrm>
          <a:off x="5925013" y="910940"/>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6C09F9-7485-4485-861D-5C10084EAB7F}">
      <dsp:nvSpPr>
        <dsp:cNvPr id="0" name=""/>
        <dsp:cNvSpPr/>
      </dsp:nvSpPr>
      <dsp:spPr>
        <a:xfrm>
          <a:off x="5681765" y="657459"/>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7547E8-25A7-4804-A169-DA115367C8AB}">
      <dsp:nvSpPr>
        <dsp:cNvPr id="0" name=""/>
        <dsp:cNvSpPr/>
      </dsp:nvSpPr>
      <dsp:spPr>
        <a:xfrm>
          <a:off x="5440324"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6F91FA-A1C0-4A98-A8A4-DCF1BEB86C10}">
      <dsp:nvSpPr>
        <dsp:cNvPr id="0" name=""/>
        <dsp:cNvSpPr/>
      </dsp:nvSpPr>
      <dsp:spPr>
        <a:xfrm>
          <a:off x="5071238"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3912D7-9CF9-4315-B0A0-A5BD6365DCE3}">
      <dsp:nvSpPr>
        <dsp:cNvPr id="0" name=""/>
        <dsp:cNvSpPr/>
      </dsp:nvSpPr>
      <dsp:spPr>
        <a:xfrm>
          <a:off x="4701550"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87139D-F2CF-4331-94D8-DB9B6794DF9F}">
      <dsp:nvSpPr>
        <dsp:cNvPr id="0" name=""/>
        <dsp:cNvSpPr/>
      </dsp:nvSpPr>
      <dsp:spPr>
        <a:xfrm>
          <a:off x="4332464"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31CD3-4316-44FB-842E-13F17C1B7C5D}">
      <dsp:nvSpPr>
        <dsp:cNvPr id="0" name=""/>
        <dsp:cNvSpPr/>
      </dsp:nvSpPr>
      <dsp:spPr>
        <a:xfrm>
          <a:off x="3963378"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E765D5-C1F5-400A-93FB-9DF72F5DB8E3}">
      <dsp:nvSpPr>
        <dsp:cNvPr id="0" name=""/>
        <dsp:cNvSpPr/>
      </dsp:nvSpPr>
      <dsp:spPr>
        <a:xfrm>
          <a:off x="3594292"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5ABEF3-BCB6-4E64-99B0-ABD259CA670C}">
      <dsp:nvSpPr>
        <dsp:cNvPr id="0" name=""/>
        <dsp:cNvSpPr/>
      </dsp:nvSpPr>
      <dsp:spPr>
        <a:xfrm>
          <a:off x="2339291" y="11095"/>
          <a:ext cx="3214279"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Failed Deliveries due to inaccurate addresses</a:t>
          </a:r>
        </a:p>
      </dsp:txBody>
      <dsp:txXfrm>
        <a:off x="2339291" y="11095"/>
        <a:ext cx="3214279" cy="444839"/>
      </dsp:txXfrm>
    </dsp:sp>
    <dsp:sp modelId="{758EEDC7-E72B-402E-89DB-3F7582304726}">
      <dsp:nvSpPr>
        <dsp:cNvPr id="0" name=""/>
        <dsp:cNvSpPr/>
      </dsp:nvSpPr>
      <dsp:spPr>
        <a:xfrm>
          <a:off x="5309669" y="1446018"/>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563727-C422-4773-B3C8-28019C55F062}">
      <dsp:nvSpPr>
        <dsp:cNvPr id="0" name=""/>
        <dsp:cNvSpPr/>
      </dsp:nvSpPr>
      <dsp:spPr>
        <a:xfrm>
          <a:off x="5088097"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392262-5AF8-4E5F-97D6-D5E0DDC0AAB6}">
      <dsp:nvSpPr>
        <dsp:cNvPr id="0" name=""/>
        <dsp:cNvSpPr/>
      </dsp:nvSpPr>
      <dsp:spPr>
        <a:xfrm>
          <a:off x="4719011"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34984D-2634-4EF6-9543-6FCFB95B18CA}">
      <dsp:nvSpPr>
        <dsp:cNvPr id="0" name=""/>
        <dsp:cNvSpPr/>
      </dsp:nvSpPr>
      <dsp:spPr>
        <a:xfrm>
          <a:off x="4349925"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CCA256-155A-4E3E-9FD7-B517E9143A1B}">
      <dsp:nvSpPr>
        <dsp:cNvPr id="0" name=""/>
        <dsp:cNvSpPr/>
      </dsp:nvSpPr>
      <dsp:spPr>
        <a:xfrm>
          <a:off x="3980839"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BDA6A7-AEEA-4EAF-8C16-BAA998F995C9}">
      <dsp:nvSpPr>
        <dsp:cNvPr id="0" name=""/>
        <dsp:cNvSpPr/>
      </dsp:nvSpPr>
      <dsp:spPr>
        <a:xfrm>
          <a:off x="3611150"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CA9FC1-30D3-4753-A49A-3D87714ED8DB}">
      <dsp:nvSpPr>
        <dsp:cNvPr id="0" name=""/>
        <dsp:cNvSpPr/>
      </dsp:nvSpPr>
      <dsp:spPr>
        <a:xfrm>
          <a:off x="3242064"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280B79-E138-4036-8250-962466DF38AD}">
      <dsp:nvSpPr>
        <dsp:cNvPr id="0" name=""/>
        <dsp:cNvSpPr/>
      </dsp:nvSpPr>
      <dsp:spPr>
        <a:xfrm>
          <a:off x="2389054" y="817529"/>
          <a:ext cx="3214279"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Carbon emissions with each delivery</a:t>
          </a:r>
        </a:p>
      </dsp:txBody>
      <dsp:txXfrm>
        <a:off x="2389054" y="817529"/>
        <a:ext cx="3214279" cy="444839"/>
      </dsp:txXfrm>
    </dsp:sp>
    <dsp:sp modelId="{003C8533-1759-408B-9875-5E4B25E77EBA}">
      <dsp:nvSpPr>
        <dsp:cNvPr id="0" name=""/>
        <dsp:cNvSpPr/>
      </dsp:nvSpPr>
      <dsp:spPr>
        <a:xfrm>
          <a:off x="4950818" y="2297153"/>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B5D1D9-8AE0-4E89-BCAC-99AEE8348A3E}">
      <dsp:nvSpPr>
        <dsp:cNvPr id="0" name=""/>
        <dsp:cNvSpPr/>
      </dsp:nvSpPr>
      <dsp:spPr>
        <a:xfrm>
          <a:off x="4608827"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C15B43-1ABD-4CF0-9981-DC2496291228}">
      <dsp:nvSpPr>
        <dsp:cNvPr id="0" name=""/>
        <dsp:cNvSpPr/>
      </dsp:nvSpPr>
      <dsp:spPr>
        <a:xfrm>
          <a:off x="4267437"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4D4DE6-0E25-474D-BEFE-62147798585D}">
      <dsp:nvSpPr>
        <dsp:cNvPr id="0" name=""/>
        <dsp:cNvSpPr/>
      </dsp:nvSpPr>
      <dsp:spPr>
        <a:xfrm>
          <a:off x="392544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2E1F5C-7C6D-4F9E-9C74-748EDA3A9C65}">
      <dsp:nvSpPr>
        <dsp:cNvPr id="0" name=""/>
        <dsp:cNvSpPr/>
      </dsp:nvSpPr>
      <dsp:spPr>
        <a:xfrm>
          <a:off x="358405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0BE110-6CB2-46A5-833F-F860460C990A}">
      <dsp:nvSpPr>
        <dsp:cNvPr id="0" name=""/>
        <dsp:cNvSpPr/>
      </dsp:nvSpPr>
      <dsp:spPr>
        <a:xfrm>
          <a:off x="3242064"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E3DF31-C948-4803-9324-D94D715511EE}">
      <dsp:nvSpPr>
        <dsp:cNvPr id="0" name=""/>
        <dsp:cNvSpPr/>
      </dsp:nvSpPr>
      <dsp:spPr>
        <a:xfrm>
          <a:off x="1897366" y="1825773"/>
          <a:ext cx="4112147"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Geo route and their related carbon dioxide emissions</a:t>
          </a:r>
        </a:p>
      </dsp:txBody>
      <dsp:txXfrm>
        <a:off x="1897366" y="1825773"/>
        <a:ext cx="4112147" cy="444839"/>
      </dsp:txXfrm>
    </dsp:sp>
    <dsp:sp modelId="{3CCDFB92-CA55-4A74-BC0A-BD9990101AE8}">
      <dsp:nvSpPr>
        <dsp:cNvPr id="0" name=""/>
        <dsp:cNvSpPr/>
      </dsp:nvSpPr>
      <dsp:spPr>
        <a:xfrm>
          <a:off x="5309669" y="3134685"/>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F1A742-936D-48CF-BE34-3E94F92C95FF}">
      <dsp:nvSpPr>
        <dsp:cNvPr id="0" name=""/>
        <dsp:cNvSpPr/>
      </dsp:nvSpPr>
      <dsp:spPr>
        <a:xfrm>
          <a:off x="5088097"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E178-8188-47C5-B843-A457D58E0878}">
      <dsp:nvSpPr>
        <dsp:cNvPr id="0" name=""/>
        <dsp:cNvSpPr/>
      </dsp:nvSpPr>
      <dsp:spPr>
        <a:xfrm>
          <a:off x="4719011"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0FA22F-CB4B-4046-A18E-0AF8E6C6ABFD}">
      <dsp:nvSpPr>
        <dsp:cNvPr id="0" name=""/>
        <dsp:cNvSpPr/>
      </dsp:nvSpPr>
      <dsp:spPr>
        <a:xfrm>
          <a:off x="4349925"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5D81A-EDC4-4E39-80F8-6414FEF3597B}">
      <dsp:nvSpPr>
        <dsp:cNvPr id="0" name=""/>
        <dsp:cNvSpPr/>
      </dsp:nvSpPr>
      <dsp:spPr>
        <a:xfrm>
          <a:off x="3980839"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7C3105-2446-4BC7-B295-5B2E1226B7FB}">
      <dsp:nvSpPr>
        <dsp:cNvPr id="0" name=""/>
        <dsp:cNvSpPr/>
      </dsp:nvSpPr>
      <dsp:spPr>
        <a:xfrm>
          <a:off x="3611150"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910377-88B1-4F49-B884-09E78126317C}">
      <dsp:nvSpPr>
        <dsp:cNvPr id="0" name=""/>
        <dsp:cNvSpPr/>
      </dsp:nvSpPr>
      <dsp:spPr>
        <a:xfrm>
          <a:off x="3242064"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A48644-AD2D-4CC9-A26E-35D48DAE3AC6}">
      <dsp:nvSpPr>
        <dsp:cNvPr id="0" name=""/>
        <dsp:cNvSpPr/>
      </dsp:nvSpPr>
      <dsp:spPr>
        <a:xfrm>
          <a:off x="1478803" y="3005308"/>
          <a:ext cx="3809541"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Depending on route of delivery, vehicle selection based on emissions levels</a:t>
          </a:r>
        </a:p>
      </dsp:txBody>
      <dsp:txXfrm>
        <a:off x="1478803" y="3005308"/>
        <a:ext cx="3809541" cy="444839"/>
      </dsp:txXfrm>
    </dsp:sp>
    <dsp:sp modelId="{0319D137-AC90-4D79-9B28-EF7FA3847156}">
      <dsp:nvSpPr>
        <dsp:cNvPr id="0" name=""/>
        <dsp:cNvSpPr/>
      </dsp:nvSpPr>
      <dsp:spPr>
        <a:xfrm>
          <a:off x="6142370" y="3448930"/>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932FB0-F803-4867-B445-110E91305226}">
      <dsp:nvSpPr>
        <dsp:cNvPr id="0" name=""/>
        <dsp:cNvSpPr/>
      </dsp:nvSpPr>
      <dsp:spPr>
        <a:xfrm>
          <a:off x="5968364" y="3799904"/>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B88D6E-EB24-457B-973C-2EFBC305F3A2}">
      <dsp:nvSpPr>
        <dsp:cNvPr id="0" name=""/>
        <dsp:cNvSpPr/>
      </dsp:nvSpPr>
      <dsp:spPr>
        <a:xfrm>
          <a:off x="5720300" y="407923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9EF8B8-2620-483F-BE7D-3C8C96AFE41C}">
      <dsp:nvSpPr>
        <dsp:cNvPr id="0" name=""/>
        <dsp:cNvSpPr/>
      </dsp:nvSpPr>
      <dsp:spPr>
        <a:xfrm>
          <a:off x="5440324"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F73440-917B-4627-B63C-7EF4CBA222AD}">
      <dsp:nvSpPr>
        <dsp:cNvPr id="0" name=""/>
        <dsp:cNvSpPr/>
      </dsp:nvSpPr>
      <dsp:spPr>
        <a:xfrm>
          <a:off x="5071238"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6713EE-E3CE-4FCE-9282-74E05A3BF9AC}">
      <dsp:nvSpPr>
        <dsp:cNvPr id="0" name=""/>
        <dsp:cNvSpPr/>
      </dsp:nvSpPr>
      <dsp:spPr>
        <a:xfrm>
          <a:off x="4701550"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FEB1D3-0F3F-4D34-9F8A-21C631A09558}">
      <dsp:nvSpPr>
        <dsp:cNvPr id="0" name=""/>
        <dsp:cNvSpPr/>
      </dsp:nvSpPr>
      <dsp:spPr>
        <a:xfrm>
          <a:off x="4332464"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8B8783-B196-40FB-8B4A-9AC4455AC110}">
      <dsp:nvSpPr>
        <dsp:cNvPr id="0" name=""/>
        <dsp:cNvSpPr/>
      </dsp:nvSpPr>
      <dsp:spPr>
        <a:xfrm>
          <a:off x="3963378"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C52D50-9A61-45B3-B82F-2D5C2316D58C}">
      <dsp:nvSpPr>
        <dsp:cNvPr id="0" name=""/>
        <dsp:cNvSpPr/>
      </dsp:nvSpPr>
      <dsp:spPr>
        <a:xfrm>
          <a:off x="3594292"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F187EB-F1D9-4600-BAD8-62B0B725FF58}">
      <dsp:nvSpPr>
        <dsp:cNvPr id="0" name=""/>
        <dsp:cNvSpPr/>
      </dsp:nvSpPr>
      <dsp:spPr>
        <a:xfrm>
          <a:off x="2360376" y="3917803"/>
          <a:ext cx="4486064"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Packaging cost per delivery</a:t>
          </a:r>
        </a:p>
      </dsp:txBody>
      <dsp:txXfrm>
        <a:off x="2360376" y="3917803"/>
        <a:ext cx="4486064" cy="444839"/>
      </dsp:txXfrm>
    </dsp:sp>
  </dsp:spTree>
</dsp:drawing>
</file>

<file path=ppt/diagrams/layout1.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with better questi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EE0787-0B56-C64C-9678-4F765F8DEE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829144" y="1523080"/>
            <a:ext cx="3406525" cy="1234184"/>
          </a:xfrm>
          <a:prstGeom prst="rect">
            <a:avLst/>
          </a:prstGeom>
        </p:spPr>
        <p:txBody>
          <a:bodyPr vert="horz" wrap="square" lIns="0" tIns="15240" rIns="0" bIns="0" rtlCol="0">
            <a:noAutofit/>
          </a:bodyPr>
          <a:lstStyle>
            <a:lvl1pPr>
              <a:defRPr lang="en-GB" sz="3598" b="0" i="0" spc="-45">
                <a:solidFill>
                  <a:schemeClr val="tx2">
                    <a:lumMod val="50000"/>
                  </a:schemeClr>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Master style</a:t>
            </a:r>
          </a:p>
        </p:txBody>
      </p:sp>
      <p:sp>
        <p:nvSpPr>
          <p:cNvPr id="16" name="Subtitle 2">
            <a:extLst>
              <a:ext uri="{FF2B5EF4-FFF2-40B4-BE49-F238E27FC236}">
                <a16:creationId xmlns:a16="http://schemas.microsoft.com/office/drawing/2014/main" id="{E020C50B-49C3-48A7-9C60-6F2DF65DE9E5}"/>
              </a:ext>
            </a:extLst>
          </p:cNvPr>
          <p:cNvSpPr>
            <a:spLocks noGrp="1"/>
          </p:cNvSpPr>
          <p:nvPr>
            <p:ph type="subTitle" idx="1"/>
          </p:nvPr>
        </p:nvSpPr>
        <p:spPr>
          <a:xfrm>
            <a:off x="829144" y="2900365"/>
            <a:ext cx="3406524" cy="645742"/>
          </a:xfrm>
          <a:prstGeom prst="rect">
            <a:avLst/>
          </a:prstGeom>
        </p:spPr>
        <p:txBody>
          <a:bodyPr lIns="0" tIns="0" rIns="0" bIns="0"/>
          <a:lstStyle>
            <a:lvl1pPr marL="0" indent="0" algn="l">
              <a:buNone/>
              <a:defRPr sz="1799" b="0" i="0">
                <a:solidFill>
                  <a:schemeClr val="tx2">
                    <a:lumMod val="50000"/>
                  </a:schemeClr>
                </a:solidFill>
                <a:latin typeface="EYInterstate Light" panose="0200050600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a:t>
            </a:r>
          </a:p>
          <a:p>
            <a:pPr lvl="0"/>
            <a:endParaRPr lang="en-US" dirty="0"/>
          </a:p>
          <a:p>
            <a:pPr lvl="0"/>
            <a:r>
              <a:rPr lang="en-US" dirty="0"/>
              <a:t>Month 2020</a:t>
            </a:r>
            <a:endParaRPr lang="en-GB" dirty="0"/>
          </a:p>
        </p:txBody>
      </p:sp>
      <p:sp>
        <p:nvSpPr>
          <p:cNvPr id="4" name="AutoShape 3"/>
          <p:cNvSpPr>
            <a:spLocks noChangeAspect="1" noChangeArrowheads="1" noTextEdit="1"/>
          </p:cNvSpPr>
          <p:nvPr userDrawn="1"/>
        </p:nvSpPr>
        <p:spPr bwMode="auto">
          <a:xfrm>
            <a:off x="603251" y="384175"/>
            <a:ext cx="5413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b="0" i="0" dirty="0">
              <a:latin typeface="EYInterstate Light" panose="02000506000000020004" pitchFamily="2" charset="0"/>
            </a:endParaRPr>
          </a:p>
        </p:txBody>
      </p:sp>
    </p:spTree>
    <p:extLst>
      <p:ext uri="{BB962C8B-B14F-4D97-AF65-F5344CB8AC3E}">
        <p14:creationId xmlns:p14="http://schemas.microsoft.com/office/powerpoint/2010/main" val="2292944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984C5B-AD64-5F4D-B120-293AA888104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685801" y="1654488"/>
            <a:ext cx="6879921" cy="664797"/>
          </a:xfrm>
          <a:prstGeom prst="rect">
            <a:avLst/>
          </a:prstGeom>
        </p:spPr>
        <p:txBody>
          <a:bodyPr vert="horz" wrap="square" lIns="0" tIns="0" rIns="0" bIns="0" rtlCol="0">
            <a:spAutoFit/>
          </a:bodyPr>
          <a:lstStyle>
            <a:lvl1pPr>
              <a:defRPr lang="en-GB" sz="4798" b="0" i="0" spc="-45" dirty="0">
                <a:solidFill>
                  <a:schemeClr val="bg1"/>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title style</a:t>
            </a:r>
            <a:endParaRPr lang="en-GB" dirty="0"/>
          </a:p>
        </p:txBody>
      </p:sp>
      <p:sp>
        <p:nvSpPr>
          <p:cNvPr id="3" name="Text Placeholder 2"/>
          <p:cNvSpPr>
            <a:spLocks noGrp="1"/>
          </p:cNvSpPr>
          <p:nvPr>
            <p:ph type="body" idx="1" hasCustomPrompt="1"/>
          </p:nvPr>
        </p:nvSpPr>
        <p:spPr>
          <a:xfrm>
            <a:off x="685801" y="2479988"/>
            <a:ext cx="6879921" cy="332399"/>
          </a:xfrm>
          <a:prstGeom prst="rect">
            <a:avLst/>
          </a:prstGeom>
        </p:spPr>
        <p:txBody>
          <a:bodyPr vert="horz" wrap="square" lIns="0" tIns="0" rIns="0" bIns="0" rtlCol="0">
            <a:spAutoFit/>
          </a:bodyPr>
          <a:lstStyle>
            <a:lvl1pPr marL="0" indent="0">
              <a:buNone/>
              <a:defRPr lang="en-US" sz="2399" b="0" i="0" spc="-20" dirty="0" smtClean="0">
                <a:solidFill>
                  <a:schemeClr val="bg1"/>
                </a:solidFill>
                <a:latin typeface="EYInterstate Light" panose="02000506000000020004" pitchFamily="2" charset="0"/>
                <a:cs typeface="EYInterstate Light" panose="02000506000000020004" pitchFamily="2" charset="0"/>
              </a:defRPr>
            </a:lvl1pPr>
          </a:lstStyle>
          <a:p>
            <a:pPr marL="12694" lvl="0">
              <a:spcBef>
                <a:spcPts val="125"/>
              </a:spcBef>
            </a:pPr>
            <a:r>
              <a:rPr lang="en-US" dirty="0"/>
              <a:t>Click to edit Master text styles</a:t>
            </a:r>
          </a:p>
        </p:txBody>
      </p:sp>
    </p:spTree>
    <p:extLst>
      <p:ext uri="{BB962C8B-B14F-4D97-AF65-F5344CB8AC3E}">
        <p14:creationId xmlns:p14="http://schemas.microsoft.com/office/powerpoint/2010/main" val="1427911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37527"/>
            <a:ext cx="11129094" cy="4509633"/>
          </a:xfrm>
          <a:prstGeom prst="rect">
            <a:avLst/>
          </a:prstGeom>
        </p:spPr>
        <p:txBody>
          <a:bodyPr/>
          <a:lstStyle>
            <a:lvl1pPr marL="35982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1pPr>
            <a:lvl2pPr marL="71964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2pPr>
            <a:lvl3pPr marL="107946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3pPr>
            <a:lvl4pPr marL="143928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4pPr>
            <a:lvl5pPr marL="179910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itle 1">
            <a:extLst>
              <a:ext uri="{FF2B5EF4-FFF2-40B4-BE49-F238E27FC236}">
                <a16:creationId xmlns:a16="http://schemas.microsoft.com/office/drawing/2014/main" id="{13F7FCBB-52CB-47F9-953C-D7969BE7000F}"/>
              </a:ext>
            </a:extLst>
          </p:cNvPr>
          <p:cNvSpPr>
            <a:spLocks noGrp="1"/>
          </p:cNvSpPr>
          <p:nvPr>
            <p:ph type="ctrTitle"/>
          </p:nvPr>
        </p:nvSpPr>
        <p:spPr>
          <a:xfrm>
            <a:off x="472356" y="466995"/>
            <a:ext cx="7696284" cy="403187"/>
          </a:xfrm>
          <a:prstGeom prst="rect">
            <a:avLst/>
          </a:prstGeom>
        </p:spPr>
        <p:txBody>
          <a:bodyPr vert="horz" wrap="square" lIns="0" tIns="15240" rIns="0" bIns="0" rtlCol="0">
            <a:spAutoFit/>
          </a:bodyPr>
          <a:lstStyle>
            <a:lvl1pPr>
              <a:defRPr lang="en-GB" sz="2799" b="0" i="0" spc="-45">
                <a:solidFill>
                  <a:schemeClr val="bg1"/>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Master title style</a:t>
            </a:r>
            <a:endParaRPr lang="en-GB" dirty="0"/>
          </a:p>
        </p:txBody>
      </p:sp>
      <p:sp>
        <p:nvSpPr>
          <p:cNvPr id="8" name="Subtitle 2">
            <a:extLst>
              <a:ext uri="{FF2B5EF4-FFF2-40B4-BE49-F238E27FC236}">
                <a16:creationId xmlns:a16="http://schemas.microsoft.com/office/drawing/2014/main" id="{2C1EAD05-C047-42A5-85A8-99CC78FBC236}"/>
              </a:ext>
            </a:extLst>
          </p:cNvPr>
          <p:cNvSpPr>
            <a:spLocks noGrp="1"/>
          </p:cNvSpPr>
          <p:nvPr>
            <p:ph type="subTitle" idx="13"/>
          </p:nvPr>
        </p:nvSpPr>
        <p:spPr>
          <a:xfrm>
            <a:off x="472356" y="941052"/>
            <a:ext cx="7696284" cy="237629"/>
          </a:xfrm>
          <a:prstGeom prst="rect">
            <a:avLst/>
          </a:prstGeom>
        </p:spPr>
        <p:txBody>
          <a:bodyPr vert="horz" wrap="square" lIns="0" tIns="15875" rIns="0" bIns="0" rtlCol="0">
            <a:spAutoFit/>
          </a:bodyPr>
          <a:lstStyle>
            <a:lvl1pPr marL="0" indent="0">
              <a:buNone/>
              <a:defRPr lang="en-GB" sz="1599" b="0" i="0" spc="-20">
                <a:solidFill>
                  <a:srgbClr val="FFE600"/>
                </a:solidFill>
                <a:latin typeface="EYInterstate Light" panose="02000506000000020004" pitchFamily="2" charset="0"/>
                <a:cs typeface="EYInterstate Light" panose="02000506000000020004" pitchFamily="2" charset="0"/>
              </a:defRPr>
            </a:lvl1pPr>
          </a:lstStyle>
          <a:p>
            <a:pPr marL="12694" lvl="0">
              <a:spcBef>
                <a:spcPts val="125"/>
              </a:spcBef>
            </a:pPr>
            <a:r>
              <a:rPr lang="en-US" dirty="0"/>
              <a:t>Click to edit Master subtitle style</a:t>
            </a:r>
            <a:endParaRPr lang="en-GB" dirty="0"/>
          </a:p>
        </p:txBody>
      </p:sp>
    </p:spTree>
    <p:extLst>
      <p:ext uri="{BB962C8B-B14F-4D97-AF65-F5344CB8AC3E}">
        <p14:creationId xmlns:p14="http://schemas.microsoft.com/office/powerpoint/2010/main" val="2903687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oiler plate">
    <p:bg>
      <p:bgPr>
        <a:solidFill>
          <a:srgbClr val="181C29"/>
        </a:solidFill>
        <a:effectLst/>
      </p:bgPr>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FED4D237-10C0-1A45-AAF1-52C0F2C1189B}"/>
              </a:ext>
            </a:extLst>
          </p:cNvPr>
          <p:cNvSpPr txBox="1">
            <a:spLocks noChangeArrowheads="1"/>
          </p:cNvSpPr>
          <p:nvPr userDrawn="1"/>
        </p:nvSpPr>
        <p:spPr bwMode="auto">
          <a:xfrm>
            <a:off x="611102" y="682856"/>
            <a:ext cx="3826249"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600"/>
              </a:spcAft>
              <a:buClrTx/>
              <a:buSzTx/>
              <a:buFontTx/>
              <a:buNone/>
              <a:tabLst/>
              <a:defRPr/>
            </a:pPr>
            <a:r>
              <a:rPr kumimoji="0" lang="en-GB" altLang="en-US" sz="104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rnst &amp; Young LLP</a:t>
            </a:r>
            <a:endParaRPr kumimoji="0" lang="en-US" altLang="en-US" sz="104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5" name="Text Box 4">
            <a:extLst>
              <a:ext uri="{FF2B5EF4-FFF2-40B4-BE49-F238E27FC236}">
                <a16:creationId xmlns:a16="http://schemas.microsoft.com/office/drawing/2014/main" id="{555B2042-5888-3A4F-8105-8124FEAAD7D9}"/>
              </a:ext>
            </a:extLst>
          </p:cNvPr>
          <p:cNvSpPr txBox="1">
            <a:spLocks noChangeArrowheads="1"/>
          </p:cNvSpPr>
          <p:nvPr userDrawn="1"/>
        </p:nvSpPr>
        <p:spPr bwMode="auto">
          <a:xfrm>
            <a:off x="611101" y="926688"/>
            <a:ext cx="69879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panose="02000503020000020004" pitchFamily="2" charset="0"/>
                <a:ea typeface="+mn-ea"/>
                <a:cs typeface="+mn-cs"/>
              </a:rPr>
              <a:t>E</a:t>
            </a:r>
            <a:r>
              <a:rPr kumimoji="0" lang="en-IN" altLang="en-US" sz="999" b="1" i="0" u="none" strike="noStrike" kern="1200" cap="none" spc="0" normalizeH="0" baseline="0" noProof="0" dirty="0">
                <a:ln>
                  <a:noFill/>
                </a:ln>
                <a:solidFill>
                  <a:prstClr val="white">
                    <a:lumMod val="95000"/>
                  </a:prstClr>
                </a:solidFill>
                <a:effectLst/>
                <a:uLnTx/>
                <a:uFillTx/>
                <a:latin typeface="EYInterstate Light"/>
                <a:ea typeface="+mn-ea"/>
                <a:cs typeface="+mn-cs"/>
              </a:rPr>
              <a:t>Y</a:t>
            </a: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 | Assurance | Tax | Strategy and Transactions | Consulting</a:t>
            </a:r>
            <a:endParaRPr kumimoji="0" lang="en-GB"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6" name="Text Box 5">
            <a:extLst>
              <a:ext uri="{FF2B5EF4-FFF2-40B4-BE49-F238E27FC236}">
                <a16:creationId xmlns:a16="http://schemas.microsoft.com/office/drawing/2014/main" id="{4A840E93-C021-9C4A-B19D-A0F1AB3BA6D8}"/>
              </a:ext>
            </a:extLst>
          </p:cNvPr>
          <p:cNvSpPr txBox="1">
            <a:spLocks noChangeArrowheads="1"/>
          </p:cNvSpPr>
          <p:nvPr userDrawn="1"/>
        </p:nvSpPr>
        <p:spPr bwMode="auto">
          <a:xfrm>
            <a:off x="611102" y="1306555"/>
            <a:ext cx="4844818" cy="192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altLang="en-US" sz="999" b="1"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About EY</a:t>
            </a:r>
          </a:p>
          <a:p>
            <a:pPr marL="0" marR="0" lvl="0" indent="0" algn="l" defTabSz="913943" rtl="0" eaLnBrk="1" fontAlgn="auto" latinLnBrk="0" hangingPunct="1">
              <a:lnSpc>
                <a:spcPct val="100000"/>
              </a:lnSpc>
              <a:spcBef>
                <a:spcPts val="0"/>
              </a:spcBef>
              <a:spcAft>
                <a:spcPts val="563"/>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algn="l" defTabSz="913943" rtl="0" eaLnBrk="1" fontAlgn="auto" latinLnBrk="0" hangingPunct="1">
              <a:lnSpc>
                <a:spcPct val="100000"/>
              </a:lnSpc>
              <a:spcBef>
                <a:spcPts val="0"/>
              </a:spcBef>
              <a:spcAft>
                <a:spcPts val="563"/>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kumimoji="0" lang="en-US"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7" name="Text Box 11">
            <a:extLst>
              <a:ext uri="{FF2B5EF4-FFF2-40B4-BE49-F238E27FC236}">
                <a16:creationId xmlns:a16="http://schemas.microsoft.com/office/drawing/2014/main" id="{79E63480-9A26-2B41-B506-AA4AFF8EA3B9}"/>
              </a:ext>
            </a:extLst>
          </p:cNvPr>
          <p:cNvSpPr txBox="1">
            <a:spLocks noChangeArrowheads="1"/>
          </p:cNvSpPr>
          <p:nvPr userDrawn="1"/>
        </p:nvSpPr>
        <p:spPr bwMode="auto">
          <a:xfrm>
            <a:off x="611103" y="3445978"/>
            <a:ext cx="4525355"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 2020 Ernst &amp; Young LLP. Published in India. </a:t>
            </a:r>
            <a:b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b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All Rights Reserved.</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D None.</a:t>
            </a:r>
          </a:p>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This publication contains information in summary form and is therefore intended for general guidance only. It is not intended to be a substitute for detailed research or the exercise of professional judgment. Neither EYGM Limited nor any other member of the global Ernst &amp; Young organization can accept any responsibility for loss occasioned to any person acting or refraining from action as a result of any material in this publication. On any specific matter, reference should be made to the appropriate advisor.</a:t>
            </a:r>
          </a:p>
        </p:txBody>
      </p:sp>
    </p:spTree>
    <p:extLst>
      <p:ext uri="{BB962C8B-B14F-4D97-AF65-F5344CB8AC3E}">
        <p14:creationId xmlns:p14="http://schemas.microsoft.com/office/powerpoint/2010/main" val="1339840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C7A5B6-CE79-4263-B6E4-B0A082EF34BF}"/>
              </a:ext>
            </a:extLst>
          </p:cNvPr>
          <p:cNvGraphicFramePr>
            <a:graphicFrameLocks noChangeAspect="1"/>
          </p:cNvGraphicFramePr>
          <p:nvPr userDrawn="1">
            <p:custDataLst>
              <p:tags r:id="rId7"/>
            </p:custDataLst>
            <p:extLst>
              <p:ext uri="{D42A27DB-BD31-4B8C-83A1-F6EECF244321}">
                <p14:modId xmlns:p14="http://schemas.microsoft.com/office/powerpoint/2010/main" val="21175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9" imgW="408" imgH="408" progId="TCLayout.ActiveDocument.1">
                  <p:embed/>
                </p:oleObj>
              </mc:Choice>
              <mc:Fallback>
                <p:oleObj name="think-cell Slide" r:id="rId9" imgW="408" imgH="408" progId="TCLayout.ActiveDocument.1">
                  <p:embed/>
                  <p:pic>
                    <p:nvPicPr>
                      <p:cNvPr id="2" name="Object 1" hidden="1">
                        <a:extLst>
                          <a:ext uri="{FF2B5EF4-FFF2-40B4-BE49-F238E27FC236}">
                            <a16:creationId xmlns:a16="http://schemas.microsoft.com/office/drawing/2014/main" id="{9CC7A5B6-CE79-4263-B6E4-B0A082EF34B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5D57503-C967-4BAF-8480-77B1BFF52FE2}"/>
              </a:ext>
            </a:extLst>
          </p:cNvPr>
          <p:cNvSpPr>
            <a:spLocks/>
          </p:cNvSpPr>
          <p:nvPr userDrawn="1"/>
        </p:nvSpPr>
        <p:spPr>
          <a:xfrm>
            <a:off x="11518013" y="6620580"/>
            <a:ext cx="476119" cy="147419"/>
          </a:xfrm>
          <a:prstGeom prst="rect">
            <a:avLst/>
          </a:prstGeom>
        </p:spPr>
        <p:txBody>
          <a:bodyPr vert="horz" lIns="91392" tIns="45696" rIns="91392" bIns="45696" rtlCol="0" anchor="ctr"/>
          <a:lstStyle/>
          <a:p>
            <a:pPr lvl="0" algn="ctr"/>
            <a:fld id="{A8397B2D-3180-4E58-A6CA-CF69DA1A46A7}" type="slidenum">
              <a:rPr lang="en-IN" sz="900" b="0" i="0" smtClean="0">
                <a:solidFill>
                  <a:srgbClr val="161C2A"/>
                </a:solidFill>
                <a:latin typeface="EYInterstate Light" panose="02000506000000020004" pitchFamily="2" charset="0"/>
                <a:cs typeface="Arial" panose="020B0604020202020204" pitchFamily="34" charset="0"/>
              </a:rPr>
              <a:t>‹#›</a:t>
            </a:fld>
            <a:endParaRPr lang="en-IN" sz="1099" b="0" i="0">
              <a:solidFill>
                <a:srgbClr val="161C2A"/>
              </a:solidFill>
              <a:latin typeface="EYInterstate Light" panose="02000506000000020004" pitchFamily="2" charset="0"/>
              <a:cs typeface="Arial" panose="020B0604020202020204" pitchFamily="34" charset="0"/>
            </a:endParaRPr>
          </a:p>
        </p:txBody>
      </p:sp>
    </p:spTree>
    <p:extLst>
      <p:ext uri="{BB962C8B-B14F-4D97-AF65-F5344CB8AC3E}">
        <p14:creationId xmlns:p14="http://schemas.microsoft.com/office/powerpoint/2010/main" val="2703640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sldNum="0" hdr="0" dt="0"/>
  <p:txStyles>
    <p:titleStyle>
      <a:lvl1pPr algn="l" defTabSz="913943"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86" indent="-228486" algn="l" defTabSz="913943"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457" indent="-228486" algn="l" defTabSz="913943"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429" indent="-228486" algn="l" defTabSz="91394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400"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71"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43"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14"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86"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57"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p15:clr>
            <a:srgbClr val="F26B43"/>
          </p15:clr>
        </p15:guide>
        <p15:guide id="2" pos="365">
          <p15:clr>
            <a:srgbClr val="F26B43"/>
          </p15:clr>
        </p15:guide>
        <p15:guide id="3" orient="horz" pos="4098">
          <p15:clr>
            <a:srgbClr val="F26B43"/>
          </p15:clr>
        </p15:guide>
        <p15:guide id="4" pos="7308">
          <p15:clr>
            <a:srgbClr val="F26B43"/>
          </p15:clr>
        </p15:guide>
        <p15:guide id="5" orient="horz" pos="1144">
          <p15:clr>
            <a:srgbClr val="F26B43"/>
          </p15:clr>
        </p15:guide>
        <p15:guide id="6" orient="horz" pos="39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1.jpe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hyperlink" Target="https://ourworldindata.org/travel-carbon-footprint" TargetMode="External"/><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3.xml"/><Relationship Id="rId7" Type="http://schemas.openxmlformats.org/officeDocument/2006/relationships/image" Target="../media/image1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3.bin"/><Relationship Id="rId9"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6AA8-F2E8-4ECB-B3DD-8B092EADD57F}"/>
              </a:ext>
            </a:extLst>
          </p:cNvPr>
          <p:cNvSpPr>
            <a:spLocks noGrp="1"/>
          </p:cNvSpPr>
          <p:nvPr>
            <p:ph type="ctrTitle"/>
          </p:nvPr>
        </p:nvSpPr>
        <p:spPr/>
        <p:txBody>
          <a:bodyPr/>
          <a:lstStyle/>
          <a:p>
            <a:r>
              <a:rPr lang="da-DK" dirty="0"/>
              <a:t>Call for Code Challenge</a:t>
            </a:r>
          </a:p>
        </p:txBody>
      </p:sp>
      <p:sp>
        <p:nvSpPr>
          <p:cNvPr id="3" name="Subtitle 2">
            <a:extLst>
              <a:ext uri="{FF2B5EF4-FFF2-40B4-BE49-F238E27FC236}">
                <a16:creationId xmlns:a16="http://schemas.microsoft.com/office/drawing/2014/main" id="{F7354FD6-67C7-4140-A220-36185388888A}"/>
              </a:ext>
            </a:extLst>
          </p:cNvPr>
          <p:cNvSpPr>
            <a:spLocks noGrp="1"/>
          </p:cNvSpPr>
          <p:nvPr>
            <p:ph type="subTitle" idx="1"/>
          </p:nvPr>
        </p:nvSpPr>
        <p:spPr/>
        <p:txBody>
          <a:bodyPr/>
          <a:lstStyle/>
          <a:p>
            <a:r>
              <a:rPr lang="en-US" dirty="0"/>
              <a:t>Online shopping with minimum carbon footprint project</a:t>
            </a:r>
            <a:endParaRPr lang="da-DK" dirty="0"/>
          </a:p>
          <a:p>
            <a:r>
              <a:rPr lang="da-DK" dirty="0"/>
              <a:t>Team 1</a:t>
            </a:r>
          </a:p>
          <a:p>
            <a:endParaRPr lang="da-DK" dirty="0"/>
          </a:p>
        </p:txBody>
      </p:sp>
      <p:pic>
        <p:nvPicPr>
          <p:cNvPr id="5122" name="Picture 2" descr="Image result for online shopping clothes">
            <a:extLst>
              <a:ext uri="{FF2B5EF4-FFF2-40B4-BE49-F238E27FC236}">
                <a16:creationId xmlns:a16="http://schemas.microsoft.com/office/drawing/2014/main" id="{CBFD0D83-15CE-4A7B-A59A-AAA6F959AF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0504" y="506349"/>
            <a:ext cx="3324225" cy="257175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online shopping furniture">
            <a:extLst>
              <a:ext uri="{FF2B5EF4-FFF2-40B4-BE49-F238E27FC236}">
                <a16:creationId xmlns:a16="http://schemas.microsoft.com/office/drawing/2014/main" id="{C9607840-738E-451D-BEBE-D213115C87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9617" y="2100167"/>
            <a:ext cx="3228975" cy="257175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online shopping electronics">
            <a:extLst>
              <a:ext uri="{FF2B5EF4-FFF2-40B4-BE49-F238E27FC236}">
                <a16:creationId xmlns:a16="http://schemas.microsoft.com/office/drawing/2014/main" id="{0F899428-9CAB-4F18-9FBD-FE7F9BFE74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6104" y="3962781"/>
            <a:ext cx="2867025"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305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7BE67E-54AC-4975-8802-0360863835CF}"/>
              </a:ext>
            </a:extLst>
          </p:cNvPr>
          <p:cNvSpPr>
            <a:spLocks noGrp="1"/>
          </p:cNvSpPr>
          <p:nvPr>
            <p:ph type="ctrTitle"/>
          </p:nvPr>
        </p:nvSpPr>
        <p:spPr/>
        <p:txBody>
          <a:bodyPr/>
          <a:lstStyle/>
          <a:p>
            <a:r>
              <a:rPr lang="en-IN" dirty="0"/>
              <a:t>ESG - Challenge</a:t>
            </a:r>
          </a:p>
        </p:txBody>
      </p:sp>
      <p:pic>
        <p:nvPicPr>
          <p:cNvPr id="12" name="Picture 11">
            <a:extLst>
              <a:ext uri="{FF2B5EF4-FFF2-40B4-BE49-F238E27FC236}">
                <a16:creationId xmlns:a16="http://schemas.microsoft.com/office/drawing/2014/main" id="{C5870D7B-246F-40CC-B589-634E9EF47CAC}"/>
              </a:ext>
            </a:extLst>
          </p:cNvPr>
          <p:cNvPicPr>
            <a:picLocks noChangeAspect="1"/>
          </p:cNvPicPr>
          <p:nvPr/>
        </p:nvPicPr>
        <p:blipFill>
          <a:blip r:embed="rId2"/>
          <a:stretch>
            <a:fillRect/>
          </a:stretch>
        </p:blipFill>
        <p:spPr>
          <a:xfrm>
            <a:off x="836253" y="1812583"/>
            <a:ext cx="10615941" cy="2359922"/>
          </a:xfrm>
          <a:prstGeom prst="rect">
            <a:avLst/>
          </a:prstGeom>
        </p:spPr>
      </p:pic>
      <p:sp>
        <p:nvSpPr>
          <p:cNvPr id="13" name="TextBox 12">
            <a:extLst>
              <a:ext uri="{FF2B5EF4-FFF2-40B4-BE49-F238E27FC236}">
                <a16:creationId xmlns:a16="http://schemas.microsoft.com/office/drawing/2014/main" id="{5B355F40-164E-47A0-AF39-BED2B3A2DD7B}"/>
              </a:ext>
            </a:extLst>
          </p:cNvPr>
          <p:cNvSpPr txBox="1"/>
          <p:nvPr/>
        </p:nvSpPr>
        <p:spPr>
          <a:xfrm>
            <a:off x="763480" y="4568308"/>
            <a:ext cx="10688714" cy="1477328"/>
          </a:xfrm>
          <a:prstGeom prst="rect">
            <a:avLst/>
          </a:prstGeom>
          <a:noFill/>
        </p:spPr>
        <p:txBody>
          <a:bodyPr wrap="square" rtlCol="0">
            <a:spAutoFit/>
          </a:bodyPr>
          <a:lstStyle/>
          <a:p>
            <a:r>
              <a:rPr lang="en-IN" dirty="0">
                <a:solidFill>
                  <a:schemeClr val="bg1"/>
                </a:solidFill>
              </a:rPr>
              <a:t>Responsible consumption and distribution</a:t>
            </a:r>
          </a:p>
          <a:p>
            <a:pPr marL="285750" indent="-285750">
              <a:buFont typeface="Arial" panose="020B0604020202020204" pitchFamily="34" charset="0"/>
              <a:buChar char="•"/>
            </a:pPr>
            <a:r>
              <a:rPr lang="en-IN" dirty="0">
                <a:solidFill>
                  <a:schemeClr val="bg1"/>
                </a:solidFill>
              </a:rPr>
              <a:t>Decarbonization in supply chain logistics</a:t>
            </a:r>
          </a:p>
          <a:p>
            <a:pPr marL="742950" lvl="1" indent="-285750">
              <a:buFont typeface="Arial" panose="020B0604020202020204" pitchFamily="34" charset="0"/>
              <a:buChar char="•"/>
            </a:pPr>
            <a:r>
              <a:rPr lang="en-IN" dirty="0">
                <a:solidFill>
                  <a:schemeClr val="bg1"/>
                </a:solidFill>
              </a:rPr>
              <a:t>Urban freight in tier 1 and 2 cities has resulted in increased carbon footprint and reduced air quality</a:t>
            </a:r>
          </a:p>
          <a:p>
            <a:pPr marL="742950" lvl="1" indent="-285750">
              <a:buFont typeface="Arial" panose="020B0604020202020204" pitchFamily="34" charset="0"/>
              <a:buChar char="•"/>
            </a:pPr>
            <a:r>
              <a:rPr lang="en-IN" dirty="0">
                <a:solidFill>
                  <a:schemeClr val="bg1"/>
                </a:solidFill>
              </a:rPr>
              <a:t>Wastage of perishable products</a:t>
            </a:r>
          </a:p>
          <a:p>
            <a:pPr marL="742950" lvl="1" indent="-285750">
              <a:buFont typeface="Arial" panose="020B0604020202020204" pitchFamily="34" charset="0"/>
              <a:buChar char="•"/>
            </a:pPr>
            <a:r>
              <a:rPr lang="en-IN" dirty="0">
                <a:solidFill>
                  <a:schemeClr val="bg1"/>
                </a:solidFill>
              </a:rPr>
              <a:t>Losses to farmers, distributors and retailers</a:t>
            </a:r>
          </a:p>
        </p:txBody>
      </p:sp>
      <p:pic>
        <p:nvPicPr>
          <p:cNvPr id="6148" name="Picture 4" descr="Newspaper Article Environmental Crisis">
            <a:extLst>
              <a:ext uri="{FF2B5EF4-FFF2-40B4-BE49-F238E27FC236}">
                <a16:creationId xmlns:a16="http://schemas.microsoft.com/office/drawing/2014/main" id="{AE4DC608-EE49-4B57-9376-54D0D55B5E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067" r="6995" b="5450"/>
          <a:stretch/>
        </p:blipFill>
        <p:spPr bwMode="auto">
          <a:xfrm>
            <a:off x="873208" y="1812583"/>
            <a:ext cx="4851315" cy="235992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overpopulation">
            <a:extLst>
              <a:ext uri="{FF2B5EF4-FFF2-40B4-BE49-F238E27FC236}">
                <a16:creationId xmlns:a16="http://schemas.microsoft.com/office/drawing/2014/main" id="{72928793-AB61-485A-AE7B-8C4C9075C13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1989" b="17206"/>
          <a:stretch/>
        </p:blipFill>
        <p:spPr bwMode="auto">
          <a:xfrm>
            <a:off x="836253" y="1812583"/>
            <a:ext cx="4851314" cy="2359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4643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7BE67E-54AC-4975-8802-0360863835CF}"/>
              </a:ext>
            </a:extLst>
          </p:cNvPr>
          <p:cNvSpPr>
            <a:spLocks noGrp="1"/>
          </p:cNvSpPr>
          <p:nvPr>
            <p:ph type="ctrTitle"/>
          </p:nvPr>
        </p:nvSpPr>
        <p:spPr/>
        <p:txBody>
          <a:bodyPr/>
          <a:lstStyle/>
          <a:p>
            <a:r>
              <a:rPr lang="en-IN" dirty="0">
                <a:solidFill>
                  <a:schemeClr val="bg1"/>
                </a:solidFill>
              </a:rPr>
              <a:t>Responsible consumption and distribution</a:t>
            </a:r>
          </a:p>
        </p:txBody>
      </p:sp>
      <p:graphicFrame>
        <p:nvGraphicFramePr>
          <p:cNvPr id="6" name="Content Placeholder 4">
            <a:extLst>
              <a:ext uri="{FF2B5EF4-FFF2-40B4-BE49-F238E27FC236}">
                <a16:creationId xmlns:a16="http://schemas.microsoft.com/office/drawing/2014/main" id="{BBA015C5-A577-4930-8296-2D1D0CDE5A32}"/>
              </a:ext>
            </a:extLst>
          </p:cNvPr>
          <p:cNvGraphicFramePr>
            <a:graphicFrameLocks/>
          </p:cNvGraphicFramePr>
          <p:nvPr>
            <p:extLst>
              <p:ext uri="{D42A27DB-BD31-4B8C-83A1-F6EECF244321}">
                <p14:modId xmlns:p14="http://schemas.microsoft.com/office/powerpoint/2010/main" val="2567710549"/>
              </p:ext>
            </p:extLst>
          </p:nvPr>
        </p:nvGraphicFramePr>
        <p:xfrm>
          <a:off x="-323057" y="1537957"/>
          <a:ext cx="11212496" cy="45389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l 4">
            <a:extLst>
              <a:ext uri="{FF2B5EF4-FFF2-40B4-BE49-F238E27FC236}">
                <a16:creationId xmlns:a16="http://schemas.microsoft.com/office/drawing/2014/main" id="{E57AFE32-F53C-4199-9BEC-07DAA225DC64}"/>
              </a:ext>
            </a:extLst>
          </p:cNvPr>
          <p:cNvSpPr/>
          <p:nvPr/>
        </p:nvSpPr>
        <p:spPr>
          <a:xfrm>
            <a:off x="9025128" y="3023025"/>
            <a:ext cx="1713388" cy="17666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500" dirty="0"/>
              <a:t>User can select the supplier based on accreditation</a:t>
            </a:r>
          </a:p>
        </p:txBody>
      </p:sp>
      <p:pic>
        <p:nvPicPr>
          <p:cNvPr id="7170" name="Picture 2" descr="Image result for 1234">
            <a:extLst>
              <a:ext uri="{FF2B5EF4-FFF2-40B4-BE49-F238E27FC236}">
                <a16:creationId xmlns:a16="http://schemas.microsoft.com/office/drawing/2014/main" id="{606E8DA5-D1E6-4A04-8B17-0329444118E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911" r="72222" b="55333"/>
          <a:stretch/>
        </p:blipFill>
        <p:spPr bwMode="auto">
          <a:xfrm>
            <a:off x="1375713" y="1537957"/>
            <a:ext cx="553671" cy="7242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1234">
            <a:extLst>
              <a:ext uri="{FF2B5EF4-FFF2-40B4-BE49-F238E27FC236}">
                <a16:creationId xmlns:a16="http://schemas.microsoft.com/office/drawing/2014/main" id="{B4447692-6A2C-4962-8D8B-6CF6FBFE4F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1445" t="8044" r="42051" b="54978"/>
          <a:stretch/>
        </p:blipFill>
        <p:spPr bwMode="auto">
          <a:xfrm>
            <a:off x="1176648" y="2415473"/>
            <a:ext cx="553671" cy="7242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1234">
            <a:extLst>
              <a:ext uri="{FF2B5EF4-FFF2-40B4-BE49-F238E27FC236}">
                <a16:creationId xmlns:a16="http://schemas.microsoft.com/office/drawing/2014/main" id="{43736A97-2B93-45F6-A454-CDC981D4987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9778" t="7334" r="1556" b="55333"/>
          <a:stretch/>
        </p:blipFill>
        <p:spPr bwMode="auto">
          <a:xfrm>
            <a:off x="860328" y="3368691"/>
            <a:ext cx="593156" cy="7242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1234">
            <a:extLst>
              <a:ext uri="{FF2B5EF4-FFF2-40B4-BE49-F238E27FC236}">
                <a16:creationId xmlns:a16="http://schemas.microsoft.com/office/drawing/2014/main" id="{C62EA581-80D3-496C-B700-446EA14A378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2778" t="50000" r="61067" b="15867"/>
          <a:stretch/>
        </p:blipFill>
        <p:spPr bwMode="auto">
          <a:xfrm>
            <a:off x="472356" y="4395128"/>
            <a:ext cx="591896" cy="72420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1234">
            <a:extLst>
              <a:ext uri="{FF2B5EF4-FFF2-40B4-BE49-F238E27FC236}">
                <a16:creationId xmlns:a16="http://schemas.microsoft.com/office/drawing/2014/main" id="{BD34366C-9D4E-4BE4-BE8F-74E568F7C3A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4778" t="50000" r="16889" b="13022"/>
          <a:stretch/>
        </p:blipFill>
        <p:spPr bwMode="auto">
          <a:xfrm>
            <a:off x="268432" y="5435367"/>
            <a:ext cx="591896" cy="724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099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119F00-160D-4174-9F56-197B77763044}"/>
              </a:ext>
            </a:extLst>
          </p:cNvPr>
          <p:cNvGraphicFramePr>
            <a:graphicFrameLocks noChangeAspect="1"/>
          </p:cNvGraphicFramePr>
          <p:nvPr>
            <p:custDataLst>
              <p:tags r:id="rId2"/>
            </p:custDataLst>
            <p:extLst>
              <p:ext uri="{D42A27DB-BD31-4B8C-83A1-F6EECF244321}">
                <p14:modId xmlns:p14="http://schemas.microsoft.com/office/powerpoint/2010/main" val="2130691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DE119F00-160D-4174-9F56-197B777630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30" name="Picture 6" descr="See the source image">
            <a:extLst>
              <a:ext uri="{FF2B5EF4-FFF2-40B4-BE49-F238E27FC236}">
                <a16:creationId xmlns:a16="http://schemas.microsoft.com/office/drawing/2014/main" id="{3773D5D5-B926-4EFF-B6E6-316D838238E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309" b="24734"/>
          <a:stretch/>
        </p:blipFill>
        <p:spPr bwMode="auto">
          <a:xfrm>
            <a:off x="1751611" y="1689332"/>
            <a:ext cx="8449294" cy="42276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E68EFA24-7561-4A5B-B740-3105F6DF3A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644" b="11567"/>
          <a:stretch/>
        </p:blipFill>
        <p:spPr bwMode="auto">
          <a:xfrm>
            <a:off x="1916417" y="1380833"/>
            <a:ext cx="7379485" cy="41976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EC96C83E-B442-476F-94F1-F4ECF50E2981}"/>
              </a:ext>
            </a:extLst>
          </p:cNvPr>
          <p:cNvSpPr>
            <a:spLocks noGrp="1"/>
          </p:cNvSpPr>
          <p:nvPr>
            <p:ph type="ctrTitle"/>
          </p:nvPr>
        </p:nvSpPr>
        <p:spPr/>
        <p:txBody>
          <a:bodyPr vert="horz"/>
          <a:lstStyle/>
          <a:p>
            <a:r>
              <a:rPr lang="en-US"/>
              <a:t>Wireframe</a:t>
            </a:r>
          </a:p>
        </p:txBody>
      </p:sp>
      <p:sp>
        <p:nvSpPr>
          <p:cNvPr id="4" name="Subtitle 3">
            <a:extLst>
              <a:ext uri="{FF2B5EF4-FFF2-40B4-BE49-F238E27FC236}">
                <a16:creationId xmlns:a16="http://schemas.microsoft.com/office/drawing/2014/main" id="{5A1E54EA-47AE-4A54-9ABB-B0EBB5EA832D}"/>
              </a:ext>
            </a:extLst>
          </p:cNvPr>
          <p:cNvSpPr>
            <a:spLocks noGrp="1"/>
          </p:cNvSpPr>
          <p:nvPr>
            <p:ph type="subTitle" idx="13"/>
          </p:nvPr>
        </p:nvSpPr>
        <p:spPr/>
        <p:txBody>
          <a:bodyPr/>
          <a:lstStyle/>
          <a:p>
            <a:r>
              <a:rPr lang="en-US"/>
              <a:t>Illustration through an Enterprise Order Management System</a:t>
            </a:r>
          </a:p>
        </p:txBody>
      </p:sp>
      <p:sp>
        <p:nvSpPr>
          <p:cNvPr id="6" name="Rectangle 5">
            <a:extLst>
              <a:ext uri="{FF2B5EF4-FFF2-40B4-BE49-F238E27FC236}">
                <a16:creationId xmlns:a16="http://schemas.microsoft.com/office/drawing/2014/main" id="{C0E5AD34-23C9-48BB-8237-FC4733590C17}"/>
              </a:ext>
            </a:extLst>
          </p:cNvPr>
          <p:cNvSpPr/>
          <p:nvPr/>
        </p:nvSpPr>
        <p:spPr>
          <a:xfrm>
            <a:off x="6774873" y="2271222"/>
            <a:ext cx="2090057" cy="307801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6565A67-28FC-4CCC-95A2-61BC2D5DC5A6}"/>
              </a:ext>
            </a:extLst>
          </p:cNvPr>
          <p:cNvSpPr txBox="1"/>
          <p:nvPr/>
        </p:nvSpPr>
        <p:spPr>
          <a:xfrm>
            <a:off x="6846125" y="2348413"/>
            <a:ext cx="1911927" cy="3000821"/>
          </a:xfrm>
          <a:prstGeom prst="rect">
            <a:avLst/>
          </a:prstGeom>
          <a:noFill/>
        </p:spPr>
        <p:txBody>
          <a:bodyPr wrap="square" rtlCol="0">
            <a:spAutoFit/>
          </a:bodyPr>
          <a:lstStyle/>
          <a:p>
            <a:r>
              <a:rPr lang="en-US" sz="900" b="1" dirty="0"/>
              <a:t>Shipping options</a:t>
            </a:r>
          </a:p>
          <a:p>
            <a:endParaRPr lang="en-US" sz="900" dirty="0"/>
          </a:p>
          <a:p>
            <a:endParaRPr lang="en-US" sz="900" dirty="0"/>
          </a:p>
          <a:p>
            <a:pPr marL="228600" indent="-228600">
              <a:buAutoNum type="arabicPeriod"/>
            </a:pPr>
            <a:r>
              <a:rPr lang="en-US" sz="900" dirty="0"/>
              <a:t>DHL Express (Electric Vehicle)* </a:t>
            </a:r>
            <a:br>
              <a:rPr lang="en-US" sz="900" dirty="0"/>
            </a:br>
            <a:br>
              <a:rPr lang="en-US" sz="900" dirty="0"/>
            </a:br>
            <a:r>
              <a:rPr lang="en-US" sz="700" dirty="0">
                <a:solidFill>
                  <a:schemeClr val="accent3">
                    <a:lumMod val="75000"/>
                  </a:schemeClr>
                </a:solidFill>
              </a:rPr>
              <a:t>Est. carbon footprint: </a:t>
            </a:r>
            <a:r>
              <a:rPr lang="en-US" sz="700" dirty="0">
                <a:solidFill>
                  <a:srgbClr val="00B050"/>
                </a:solidFill>
              </a:rPr>
              <a:t>130kg</a:t>
            </a:r>
            <a:br>
              <a:rPr lang="en-US" sz="700" dirty="0">
                <a:solidFill>
                  <a:schemeClr val="accent3">
                    <a:lumMod val="75000"/>
                  </a:schemeClr>
                </a:solidFill>
              </a:rPr>
            </a:br>
            <a:r>
              <a:rPr lang="en-US" sz="700" dirty="0">
                <a:solidFill>
                  <a:schemeClr val="accent3">
                    <a:lumMod val="60000"/>
                    <a:lumOff val="40000"/>
                  </a:schemeClr>
                </a:solidFill>
              </a:rPr>
              <a:t>Supplier ESG score: 10</a:t>
            </a:r>
            <a:br>
              <a:rPr lang="en-US" sz="700" dirty="0">
                <a:solidFill>
                  <a:schemeClr val="accent3">
                    <a:lumMod val="60000"/>
                    <a:lumOff val="40000"/>
                  </a:schemeClr>
                </a:solidFill>
              </a:rPr>
            </a:br>
            <a:r>
              <a:rPr lang="en-US" sz="700" dirty="0">
                <a:solidFill>
                  <a:schemeClr val="accent3">
                    <a:lumMod val="60000"/>
                    <a:lumOff val="40000"/>
                  </a:schemeClr>
                </a:solidFill>
              </a:rPr>
              <a:t>Accreditations: 5</a:t>
            </a:r>
            <a:br>
              <a:rPr lang="en-US" sz="900" dirty="0"/>
            </a:br>
            <a:br>
              <a:rPr lang="en-US" sz="900" dirty="0"/>
            </a:br>
            <a:endParaRPr lang="en-US" sz="900" dirty="0"/>
          </a:p>
          <a:p>
            <a:pPr marL="228600" indent="-228600">
              <a:buAutoNum type="arabicPeriod"/>
            </a:pPr>
            <a:r>
              <a:rPr lang="en-US" sz="900" dirty="0"/>
              <a:t>FedEx</a:t>
            </a:r>
            <a:br>
              <a:rPr lang="en-US" sz="900" dirty="0"/>
            </a:br>
            <a:br>
              <a:rPr lang="en-US" sz="900" dirty="0"/>
            </a:br>
            <a:r>
              <a:rPr lang="en-US" sz="700" dirty="0">
                <a:solidFill>
                  <a:schemeClr val="accent3">
                    <a:lumMod val="75000"/>
                  </a:schemeClr>
                </a:solidFill>
              </a:rPr>
              <a:t>Est. carbon footprint: </a:t>
            </a:r>
            <a:r>
              <a:rPr lang="en-US" sz="700" dirty="0">
                <a:solidFill>
                  <a:schemeClr val="accent2">
                    <a:lumMod val="60000"/>
                    <a:lumOff val="40000"/>
                  </a:schemeClr>
                </a:solidFill>
              </a:rPr>
              <a:t>427kg</a:t>
            </a:r>
            <a:br>
              <a:rPr lang="en-US" sz="700" dirty="0">
                <a:solidFill>
                  <a:schemeClr val="accent3">
                    <a:lumMod val="75000"/>
                  </a:schemeClr>
                </a:solidFill>
              </a:rPr>
            </a:br>
            <a:r>
              <a:rPr lang="en-US" sz="700" dirty="0">
                <a:solidFill>
                  <a:schemeClr val="accent3">
                    <a:lumMod val="60000"/>
                    <a:lumOff val="40000"/>
                  </a:schemeClr>
                </a:solidFill>
              </a:rPr>
              <a:t>Supplier ESG score: 5</a:t>
            </a:r>
            <a:br>
              <a:rPr lang="en-US" sz="700" dirty="0">
                <a:solidFill>
                  <a:schemeClr val="accent3">
                    <a:lumMod val="60000"/>
                    <a:lumOff val="40000"/>
                  </a:schemeClr>
                </a:solidFill>
              </a:rPr>
            </a:br>
            <a:r>
              <a:rPr lang="en-US" sz="700" dirty="0">
                <a:solidFill>
                  <a:schemeClr val="accent3">
                    <a:lumMod val="60000"/>
                    <a:lumOff val="40000"/>
                  </a:schemeClr>
                </a:solidFill>
              </a:rPr>
              <a:t>Accreditations: 2</a:t>
            </a:r>
            <a:br>
              <a:rPr lang="en-US" sz="900" dirty="0"/>
            </a:br>
            <a:endParaRPr lang="en-US" sz="900" dirty="0"/>
          </a:p>
          <a:p>
            <a:pPr marL="228600" indent="-228600">
              <a:buAutoNum type="arabicPeriod"/>
            </a:pPr>
            <a:r>
              <a:rPr lang="en-US" sz="900" dirty="0"/>
              <a:t>Air Freight</a:t>
            </a:r>
            <a:br>
              <a:rPr lang="en-US" sz="900" dirty="0"/>
            </a:br>
            <a:br>
              <a:rPr lang="en-US" sz="900" dirty="0"/>
            </a:br>
            <a:r>
              <a:rPr lang="en-US" sz="700" dirty="0">
                <a:solidFill>
                  <a:schemeClr val="accent3">
                    <a:lumMod val="75000"/>
                  </a:schemeClr>
                </a:solidFill>
              </a:rPr>
              <a:t>Est. carbon footprint: </a:t>
            </a:r>
            <a:r>
              <a:rPr lang="en-US" sz="700" dirty="0">
                <a:solidFill>
                  <a:srgbClr val="C00000"/>
                </a:solidFill>
              </a:rPr>
              <a:t>640kg</a:t>
            </a:r>
            <a:br>
              <a:rPr lang="en-US" sz="700" dirty="0">
                <a:solidFill>
                  <a:schemeClr val="accent3">
                    <a:lumMod val="75000"/>
                  </a:schemeClr>
                </a:solidFill>
              </a:rPr>
            </a:br>
            <a:r>
              <a:rPr lang="en-US" sz="700" dirty="0">
                <a:solidFill>
                  <a:schemeClr val="accent3">
                    <a:lumMod val="60000"/>
                    <a:lumOff val="40000"/>
                  </a:schemeClr>
                </a:solidFill>
              </a:rPr>
              <a:t>Supplier ESG score: 3</a:t>
            </a:r>
            <a:br>
              <a:rPr lang="en-US" sz="700" dirty="0">
                <a:solidFill>
                  <a:schemeClr val="accent3">
                    <a:lumMod val="60000"/>
                    <a:lumOff val="40000"/>
                  </a:schemeClr>
                </a:solidFill>
              </a:rPr>
            </a:br>
            <a:r>
              <a:rPr lang="en-US" sz="700" dirty="0">
                <a:solidFill>
                  <a:schemeClr val="accent3">
                    <a:lumMod val="60000"/>
                    <a:lumOff val="40000"/>
                  </a:schemeClr>
                </a:solidFill>
              </a:rPr>
              <a:t>Accreditations: 1</a:t>
            </a:r>
            <a:br>
              <a:rPr lang="en-US" sz="900" dirty="0"/>
            </a:br>
            <a:endParaRPr lang="en-US" sz="900" dirty="0"/>
          </a:p>
          <a:p>
            <a:r>
              <a:rPr lang="en-US" sz="900" dirty="0"/>
              <a:t>*Recommended</a:t>
            </a:r>
          </a:p>
        </p:txBody>
      </p:sp>
      <p:sp>
        <p:nvSpPr>
          <p:cNvPr id="9" name="TextBox 8">
            <a:extLst>
              <a:ext uri="{FF2B5EF4-FFF2-40B4-BE49-F238E27FC236}">
                <a16:creationId xmlns:a16="http://schemas.microsoft.com/office/drawing/2014/main" id="{EF8D148E-2029-4F9A-A49F-46075634F4C3}"/>
              </a:ext>
            </a:extLst>
          </p:cNvPr>
          <p:cNvSpPr txBox="1"/>
          <p:nvPr/>
        </p:nvSpPr>
        <p:spPr>
          <a:xfrm>
            <a:off x="688769" y="6002977"/>
            <a:ext cx="7932717" cy="261610"/>
          </a:xfrm>
          <a:prstGeom prst="rect">
            <a:avLst/>
          </a:prstGeom>
          <a:noFill/>
        </p:spPr>
        <p:txBody>
          <a:bodyPr wrap="square" rtlCol="0">
            <a:spAutoFit/>
          </a:bodyPr>
          <a:lstStyle/>
          <a:p>
            <a:r>
              <a:rPr lang="en-US" sz="1100">
                <a:solidFill>
                  <a:schemeClr val="bg1"/>
                </a:solidFill>
              </a:rPr>
              <a:t>Assumptions: 2,500km shipped and </a:t>
            </a:r>
            <a:r>
              <a:rPr lang="en-US" sz="1100">
                <a:solidFill>
                  <a:schemeClr val="bg1"/>
                </a:solidFill>
                <a:hlinkClick r:id="rId8"/>
              </a:rPr>
              <a:t>carbon footprint of travel per kilometer data</a:t>
            </a:r>
            <a:endParaRPr lang="en-US" sz="1100">
              <a:solidFill>
                <a:schemeClr val="bg1"/>
              </a:solidFill>
            </a:endParaRPr>
          </a:p>
        </p:txBody>
      </p:sp>
    </p:spTree>
    <p:extLst>
      <p:ext uri="{BB962C8B-B14F-4D97-AF65-F5344CB8AC3E}">
        <p14:creationId xmlns:p14="http://schemas.microsoft.com/office/powerpoint/2010/main" val="301898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E0E63AE-1F16-412B-B00B-DC954B74564F}"/>
              </a:ext>
            </a:extLst>
          </p:cNvPr>
          <p:cNvGraphicFramePr>
            <a:graphicFrameLocks noChangeAspect="1"/>
          </p:cNvGraphicFramePr>
          <p:nvPr>
            <p:custDataLst>
              <p:tags r:id="rId2"/>
            </p:custDataLst>
            <p:extLst>
              <p:ext uri="{D42A27DB-BD31-4B8C-83A1-F6EECF244321}">
                <p14:modId xmlns:p14="http://schemas.microsoft.com/office/powerpoint/2010/main" val="8821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8E0E63AE-1F16-412B-B00B-DC954B745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67AB3247-B8EF-4A78-8CCB-DCF93D6DCD5B}"/>
              </a:ext>
            </a:extLst>
          </p:cNvPr>
          <p:cNvSpPr/>
          <p:nvPr/>
        </p:nvSpPr>
        <p:spPr>
          <a:xfrm>
            <a:off x="1285317" y="1376108"/>
            <a:ext cx="4908754" cy="5074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err="1">
                <a:solidFill>
                  <a:schemeClr val="bg1"/>
                </a:solidFill>
                <a:cs typeface="Calibri"/>
              </a:rPr>
              <a:t>Dfjk;jlasdf</a:t>
            </a:r>
            <a:endParaRPr lang="en-US" err="1">
              <a:solidFill>
                <a:schemeClr val="bg1"/>
              </a:solidFill>
            </a:endParaRPr>
          </a:p>
        </p:txBody>
      </p:sp>
      <p:sp>
        <p:nvSpPr>
          <p:cNvPr id="3" name="Title 2">
            <a:extLst>
              <a:ext uri="{FF2B5EF4-FFF2-40B4-BE49-F238E27FC236}">
                <a16:creationId xmlns:a16="http://schemas.microsoft.com/office/drawing/2014/main" id="{79601699-A63D-4A23-B05A-7C354F6E95EB}"/>
              </a:ext>
            </a:extLst>
          </p:cNvPr>
          <p:cNvSpPr>
            <a:spLocks noGrp="1"/>
          </p:cNvSpPr>
          <p:nvPr>
            <p:ph type="ctrTitle"/>
          </p:nvPr>
        </p:nvSpPr>
        <p:spPr/>
        <p:txBody>
          <a:bodyPr vert="horz"/>
          <a:lstStyle/>
          <a:p>
            <a:r>
              <a:rPr lang="en-US"/>
              <a:t>System Architecture</a:t>
            </a:r>
          </a:p>
        </p:txBody>
      </p:sp>
      <p:sp>
        <p:nvSpPr>
          <p:cNvPr id="7" name="Flowchart: Magnetic Disk 6">
            <a:extLst>
              <a:ext uri="{FF2B5EF4-FFF2-40B4-BE49-F238E27FC236}">
                <a16:creationId xmlns:a16="http://schemas.microsoft.com/office/drawing/2014/main" id="{6855F8AB-90B3-4FBE-8B3E-AB44603F6D29}"/>
              </a:ext>
            </a:extLst>
          </p:cNvPr>
          <p:cNvSpPr/>
          <p:nvPr/>
        </p:nvSpPr>
        <p:spPr>
          <a:xfrm>
            <a:off x="2688348" y="5451921"/>
            <a:ext cx="2131424" cy="842470"/>
          </a:xfrm>
          <a:prstGeom prst="flowChartMagneticDisk">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a:r>
              <a:rPr lang="en-US" sz="1400" dirty="0">
                <a:solidFill>
                  <a:schemeClr val="tx1"/>
                </a:solidFill>
              </a:rPr>
              <a:t>IBM DB2 Database</a:t>
            </a:r>
            <a:endParaRPr lang="en-US" dirty="0">
              <a:solidFill>
                <a:schemeClr val="tx1"/>
              </a:solidFill>
            </a:endParaRPr>
          </a:p>
        </p:txBody>
      </p:sp>
      <p:sp>
        <p:nvSpPr>
          <p:cNvPr id="8" name="Rectangle 7">
            <a:extLst>
              <a:ext uri="{FF2B5EF4-FFF2-40B4-BE49-F238E27FC236}">
                <a16:creationId xmlns:a16="http://schemas.microsoft.com/office/drawing/2014/main" id="{82822C11-5927-45CB-8939-B8D599FEDFE4}"/>
              </a:ext>
            </a:extLst>
          </p:cNvPr>
          <p:cNvSpPr/>
          <p:nvPr/>
        </p:nvSpPr>
        <p:spPr>
          <a:xfrm>
            <a:off x="1659343" y="2159590"/>
            <a:ext cx="2867298" cy="14268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ur Application</a:t>
            </a:r>
          </a:p>
          <a:p>
            <a:pPr algn="ctr"/>
            <a:r>
              <a:rPr lang="en-US"/>
              <a:t>(Order Management System ESG Integration)</a:t>
            </a:r>
          </a:p>
        </p:txBody>
      </p:sp>
      <p:sp>
        <p:nvSpPr>
          <p:cNvPr id="10" name="Rectangle 9">
            <a:extLst>
              <a:ext uri="{FF2B5EF4-FFF2-40B4-BE49-F238E27FC236}">
                <a16:creationId xmlns:a16="http://schemas.microsoft.com/office/drawing/2014/main" id="{BCB0F9E8-59B3-439E-AB29-BE675FA3D7D4}"/>
              </a:ext>
            </a:extLst>
          </p:cNvPr>
          <p:cNvSpPr/>
          <p:nvPr/>
        </p:nvSpPr>
        <p:spPr>
          <a:xfrm>
            <a:off x="9577450" y="1988684"/>
            <a:ext cx="1787306" cy="3480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rd party logistic providers</a:t>
            </a:r>
          </a:p>
        </p:txBody>
      </p:sp>
      <p:cxnSp>
        <p:nvCxnSpPr>
          <p:cNvPr id="12" name="Straight Arrow Connector 11">
            <a:extLst>
              <a:ext uri="{FF2B5EF4-FFF2-40B4-BE49-F238E27FC236}">
                <a16:creationId xmlns:a16="http://schemas.microsoft.com/office/drawing/2014/main" id="{5C1FB346-2839-472E-BCBD-E7720289D8AA}"/>
              </a:ext>
            </a:extLst>
          </p:cNvPr>
          <p:cNvCxnSpPr>
            <a:cxnSpLocks/>
          </p:cNvCxnSpPr>
          <p:nvPr/>
        </p:nvCxnSpPr>
        <p:spPr>
          <a:xfrm>
            <a:off x="5662996" y="2672191"/>
            <a:ext cx="3878591"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6" name="Straight Arrow Connector 15">
            <a:extLst>
              <a:ext uri="{FF2B5EF4-FFF2-40B4-BE49-F238E27FC236}">
                <a16:creationId xmlns:a16="http://schemas.microsoft.com/office/drawing/2014/main" id="{A6CC27D3-A48C-4E44-B7E4-99CCEAAF4CD2}"/>
              </a:ext>
            </a:extLst>
          </p:cNvPr>
          <p:cNvCxnSpPr>
            <a:cxnSpLocks/>
          </p:cNvCxnSpPr>
          <p:nvPr/>
        </p:nvCxnSpPr>
        <p:spPr>
          <a:xfrm flipH="1" flipV="1">
            <a:off x="5734433" y="2920841"/>
            <a:ext cx="3819061" cy="238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7" name="Straight Arrow Connector 16">
            <a:extLst>
              <a:ext uri="{FF2B5EF4-FFF2-40B4-BE49-F238E27FC236}">
                <a16:creationId xmlns:a16="http://schemas.microsoft.com/office/drawing/2014/main" id="{F70C6B27-E8E0-40F7-86C7-19D4438F0DA7}"/>
              </a:ext>
            </a:extLst>
          </p:cNvPr>
          <p:cNvCxnSpPr>
            <a:cxnSpLocks/>
          </p:cNvCxnSpPr>
          <p:nvPr/>
        </p:nvCxnSpPr>
        <p:spPr>
          <a:xfrm flipH="1" flipV="1">
            <a:off x="3748742" y="3595912"/>
            <a:ext cx="5318" cy="1856009"/>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9" name="Straight Arrow Connector 18">
            <a:extLst>
              <a:ext uri="{FF2B5EF4-FFF2-40B4-BE49-F238E27FC236}">
                <a16:creationId xmlns:a16="http://schemas.microsoft.com/office/drawing/2014/main" id="{00D693F9-7289-4D0D-B164-B8AA5DBC5D09}"/>
              </a:ext>
            </a:extLst>
          </p:cNvPr>
          <p:cNvCxnSpPr>
            <a:cxnSpLocks/>
          </p:cNvCxnSpPr>
          <p:nvPr/>
        </p:nvCxnSpPr>
        <p:spPr>
          <a:xfrm>
            <a:off x="3544306" y="3584005"/>
            <a:ext cx="14018" cy="1867916"/>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22" name="TextBox 21">
            <a:extLst>
              <a:ext uri="{FF2B5EF4-FFF2-40B4-BE49-F238E27FC236}">
                <a16:creationId xmlns:a16="http://schemas.microsoft.com/office/drawing/2014/main" id="{E607B256-C70A-46BC-874E-504C8320BE53}"/>
              </a:ext>
            </a:extLst>
          </p:cNvPr>
          <p:cNvSpPr txBox="1"/>
          <p:nvPr/>
        </p:nvSpPr>
        <p:spPr>
          <a:xfrm>
            <a:off x="6277304" y="2248472"/>
            <a:ext cx="2666117" cy="369332"/>
          </a:xfrm>
          <a:prstGeom prst="rect">
            <a:avLst/>
          </a:prstGeom>
          <a:noFill/>
        </p:spPr>
        <p:txBody>
          <a:bodyPr wrap="square" rtlCol="0">
            <a:spAutoFit/>
          </a:bodyPr>
          <a:lstStyle/>
          <a:p>
            <a:r>
              <a:rPr lang="en-US" dirty="0">
                <a:solidFill>
                  <a:schemeClr val="bg1"/>
                </a:solidFill>
              </a:rPr>
              <a:t>Get transportation details</a:t>
            </a:r>
          </a:p>
        </p:txBody>
      </p:sp>
      <p:pic>
        <p:nvPicPr>
          <p:cNvPr id="2054" name="Picture 6" descr="Image result for fedex">
            <a:extLst>
              <a:ext uri="{FF2B5EF4-FFF2-40B4-BE49-F238E27FC236}">
                <a16:creationId xmlns:a16="http://schemas.microsoft.com/office/drawing/2014/main" id="{3B223018-6077-4A6A-9BA7-E27CB51F80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19505" y="2186938"/>
            <a:ext cx="798581" cy="63943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dhl">
            <a:extLst>
              <a:ext uri="{FF2B5EF4-FFF2-40B4-BE49-F238E27FC236}">
                <a16:creationId xmlns:a16="http://schemas.microsoft.com/office/drawing/2014/main" id="{5735440D-4A20-4C7C-8ABA-41862CC507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24369" y="2684097"/>
            <a:ext cx="634103" cy="72792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ninja van ">
            <a:extLst>
              <a:ext uri="{FF2B5EF4-FFF2-40B4-BE49-F238E27FC236}">
                <a16:creationId xmlns:a16="http://schemas.microsoft.com/office/drawing/2014/main" id="{DE61FAC2-967E-402D-9349-3A9332AA6AB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56069" y="4245289"/>
            <a:ext cx="1020892" cy="722886"/>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redhat openshift logo">
            <a:extLst>
              <a:ext uri="{FF2B5EF4-FFF2-40B4-BE49-F238E27FC236}">
                <a16:creationId xmlns:a16="http://schemas.microsoft.com/office/drawing/2014/main" id="{5824E5E4-D254-4522-AE21-D12F2C75A5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04997" y="1486960"/>
            <a:ext cx="985268" cy="65010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A09E5B3F-F3C5-4343-A3CA-77295F435D28}"/>
              </a:ext>
            </a:extLst>
          </p:cNvPr>
          <p:cNvPicPr>
            <a:picLocks noChangeAspect="1"/>
          </p:cNvPicPr>
          <p:nvPr/>
        </p:nvPicPr>
        <p:blipFill>
          <a:blip r:embed="rId10"/>
          <a:stretch>
            <a:fillRect/>
          </a:stretch>
        </p:blipFill>
        <p:spPr>
          <a:xfrm>
            <a:off x="2802138" y="5757377"/>
            <a:ext cx="495369" cy="390580"/>
          </a:xfrm>
          <a:prstGeom prst="rect">
            <a:avLst/>
          </a:prstGeom>
        </p:spPr>
      </p:pic>
      <p:sp>
        <p:nvSpPr>
          <p:cNvPr id="34" name="Rectangle 33">
            <a:extLst>
              <a:ext uri="{FF2B5EF4-FFF2-40B4-BE49-F238E27FC236}">
                <a16:creationId xmlns:a16="http://schemas.microsoft.com/office/drawing/2014/main" id="{AE641068-39D6-4179-AAE1-A7B7BA590EBA}"/>
              </a:ext>
            </a:extLst>
          </p:cNvPr>
          <p:cNvSpPr/>
          <p:nvPr/>
        </p:nvSpPr>
        <p:spPr>
          <a:xfrm>
            <a:off x="4767569" y="2433138"/>
            <a:ext cx="1007563" cy="514381"/>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cs typeface="Calibri"/>
              </a:rPr>
              <a:t>Caching (Redis )</a:t>
            </a:r>
          </a:p>
        </p:txBody>
      </p:sp>
      <p:cxnSp>
        <p:nvCxnSpPr>
          <p:cNvPr id="21" name="Straight Arrow Connector 20">
            <a:extLst>
              <a:ext uri="{FF2B5EF4-FFF2-40B4-BE49-F238E27FC236}">
                <a16:creationId xmlns:a16="http://schemas.microsoft.com/office/drawing/2014/main" id="{3C3DE328-25A6-42AF-B309-11D94A4D2EB9}"/>
              </a:ext>
            </a:extLst>
          </p:cNvPr>
          <p:cNvCxnSpPr>
            <a:cxnSpLocks/>
          </p:cNvCxnSpPr>
          <p:nvPr/>
        </p:nvCxnSpPr>
        <p:spPr>
          <a:xfrm>
            <a:off x="4531902" y="2560933"/>
            <a:ext cx="235281"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4" name="Straight Arrow Connector 23">
            <a:extLst>
              <a:ext uri="{FF2B5EF4-FFF2-40B4-BE49-F238E27FC236}">
                <a16:creationId xmlns:a16="http://schemas.microsoft.com/office/drawing/2014/main" id="{A32FFC80-187D-4F4D-A4F0-7408570B9606}"/>
              </a:ext>
            </a:extLst>
          </p:cNvPr>
          <p:cNvCxnSpPr>
            <a:cxnSpLocks/>
          </p:cNvCxnSpPr>
          <p:nvPr/>
        </p:nvCxnSpPr>
        <p:spPr>
          <a:xfrm flipH="1">
            <a:off x="4543808" y="2742248"/>
            <a:ext cx="223375" cy="11906"/>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pic>
        <p:nvPicPr>
          <p:cNvPr id="2" name="Picture 4" descr="Icon&#10;&#10;Description automatically generated">
            <a:extLst>
              <a:ext uri="{FF2B5EF4-FFF2-40B4-BE49-F238E27FC236}">
                <a16:creationId xmlns:a16="http://schemas.microsoft.com/office/drawing/2014/main" id="{7A2D54B4-B583-44D4-827C-0906F78D4543}"/>
              </a:ext>
            </a:extLst>
          </p:cNvPr>
          <p:cNvPicPr>
            <a:picLocks noChangeAspect="1"/>
          </p:cNvPicPr>
          <p:nvPr/>
        </p:nvPicPr>
        <p:blipFill>
          <a:blip r:embed="rId11"/>
          <a:stretch>
            <a:fillRect/>
          </a:stretch>
        </p:blipFill>
        <p:spPr>
          <a:xfrm>
            <a:off x="1795463" y="1520991"/>
            <a:ext cx="778669" cy="577520"/>
          </a:xfrm>
          <a:prstGeom prst="rect">
            <a:avLst/>
          </a:prstGeom>
        </p:spPr>
      </p:pic>
      <p:sp>
        <p:nvSpPr>
          <p:cNvPr id="29" name="Rectangle 28">
            <a:extLst>
              <a:ext uri="{FF2B5EF4-FFF2-40B4-BE49-F238E27FC236}">
                <a16:creationId xmlns:a16="http://schemas.microsoft.com/office/drawing/2014/main" id="{812CF2C3-369B-402C-80CB-F4150DD1B114}"/>
              </a:ext>
            </a:extLst>
          </p:cNvPr>
          <p:cNvSpPr/>
          <p:nvPr/>
        </p:nvSpPr>
        <p:spPr>
          <a:xfrm>
            <a:off x="3092992" y="4713641"/>
            <a:ext cx="1007563" cy="514381"/>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cs typeface="Calibri"/>
              </a:rPr>
              <a:t>Caching (Redis )</a:t>
            </a:r>
          </a:p>
        </p:txBody>
      </p:sp>
      <p:cxnSp>
        <p:nvCxnSpPr>
          <p:cNvPr id="26" name="Straight Arrow Connector 25">
            <a:extLst>
              <a:ext uri="{FF2B5EF4-FFF2-40B4-BE49-F238E27FC236}">
                <a16:creationId xmlns:a16="http://schemas.microsoft.com/office/drawing/2014/main" id="{0F4D29FC-A250-47FB-94D4-14CD7F7A5674}"/>
              </a:ext>
            </a:extLst>
          </p:cNvPr>
          <p:cNvCxnSpPr>
            <a:cxnSpLocks/>
          </p:cNvCxnSpPr>
          <p:nvPr/>
        </p:nvCxnSpPr>
        <p:spPr>
          <a:xfrm>
            <a:off x="941181" y="2617804"/>
            <a:ext cx="718162"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3" name="TextBox 12">
            <a:extLst>
              <a:ext uri="{FF2B5EF4-FFF2-40B4-BE49-F238E27FC236}">
                <a16:creationId xmlns:a16="http://schemas.microsoft.com/office/drawing/2014/main" id="{4F1BE2C2-B35F-43A4-A876-A4D91995A497}"/>
              </a:ext>
            </a:extLst>
          </p:cNvPr>
          <p:cNvSpPr txBox="1"/>
          <p:nvPr/>
        </p:nvSpPr>
        <p:spPr>
          <a:xfrm>
            <a:off x="228861" y="1933731"/>
            <a:ext cx="914400" cy="369332"/>
          </a:xfrm>
          <a:prstGeom prst="rect">
            <a:avLst/>
          </a:prstGeom>
          <a:noFill/>
          <a:ln>
            <a:noFill/>
          </a:ln>
        </p:spPr>
        <p:txBody>
          <a:bodyPr wrap="square" rtlCol="0">
            <a:spAutoFit/>
          </a:bodyPr>
          <a:lstStyle/>
          <a:p>
            <a:r>
              <a:rPr lang="en-IN">
                <a:solidFill>
                  <a:schemeClr val="bg1"/>
                </a:solidFill>
              </a:rPr>
              <a:t>User</a:t>
            </a:r>
          </a:p>
        </p:txBody>
      </p:sp>
      <p:grpSp>
        <p:nvGrpSpPr>
          <p:cNvPr id="15" name="Graphic 5">
            <a:extLst>
              <a:ext uri="{FF2B5EF4-FFF2-40B4-BE49-F238E27FC236}">
                <a16:creationId xmlns:a16="http://schemas.microsoft.com/office/drawing/2014/main" id="{2166DAC1-04E4-4880-890F-A2013F73D977}"/>
              </a:ext>
              <a:ext uri="{C183D7F6-B498-43B3-948B-1728B52AA6E4}">
                <adec:decorative xmlns:adec="http://schemas.microsoft.com/office/drawing/2017/decorative" val="1"/>
              </a:ext>
            </a:extLst>
          </p:cNvPr>
          <p:cNvGrpSpPr/>
          <p:nvPr/>
        </p:nvGrpSpPr>
        <p:grpSpPr>
          <a:xfrm>
            <a:off x="214709" y="2329010"/>
            <a:ext cx="785019" cy="686495"/>
            <a:chOff x="214709" y="2329010"/>
            <a:chExt cx="785019" cy="686495"/>
          </a:xfrm>
          <a:solidFill>
            <a:srgbClr val="FF0000"/>
          </a:solidFill>
        </p:grpSpPr>
        <p:sp>
          <p:nvSpPr>
            <p:cNvPr id="18" name="Freeform: Shape 17">
              <a:extLst>
                <a:ext uri="{FF2B5EF4-FFF2-40B4-BE49-F238E27FC236}">
                  <a16:creationId xmlns:a16="http://schemas.microsoft.com/office/drawing/2014/main" id="{1347392D-79F4-4891-BAF7-9922110E4802}"/>
                </a:ext>
              </a:extLst>
            </p:cNvPr>
            <p:cNvSpPr/>
            <p:nvPr/>
          </p:nvSpPr>
          <p:spPr>
            <a:xfrm>
              <a:off x="982663"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9A9B3C43-0E33-4B8A-9242-2768D2659560}"/>
                </a:ext>
              </a:extLst>
            </p:cNvPr>
            <p:cNvSpPr/>
            <p:nvPr/>
          </p:nvSpPr>
          <p:spPr>
            <a:xfrm>
              <a:off x="948532"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7CA01486-981D-4520-BAEE-6B7FD9186AE5}"/>
                </a:ext>
              </a:extLst>
            </p:cNvPr>
            <p:cNvSpPr/>
            <p:nvPr/>
          </p:nvSpPr>
          <p:spPr>
            <a:xfrm>
              <a:off x="846138"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4273FD1D-5066-4809-833E-2A5635222732}"/>
                </a:ext>
              </a:extLst>
            </p:cNvPr>
            <p:cNvSpPr/>
            <p:nvPr/>
          </p:nvSpPr>
          <p:spPr>
            <a:xfrm>
              <a:off x="880269"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DCCC41EA-C325-489A-B677-EFBF2941C371}"/>
                </a:ext>
              </a:extLst>
            </p:cNvPr>
            <p:cNvSpPr/>
            <p:nvPr/>
          </p:nvSpPr>
          <p:spPr>
            <a:xfrm>
              <a:off x="812007"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3E47345E-56CF-4406-88FA-755864373E15}"/>
                </a:ext>
              </a:extLst>
            </p:cNvPr>
            <p:cNvSpPr/>
            <p:nvPr/>
          </p:nvSpPr>
          <p:spPr>
            <a:xfrm>
              <a:off x="914401"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48" name="Freeform: Shape 2047">
              <a:extLst>
                <a:ext uri="{FF2B5EF4-FFF2-40B4-BE49-F238E27FC236}">
                  <a16:creationId xmlns:a16="http://schemas.microsoft.com/office/drawing/2014/main" id="{3FF286FE-B2F4-4B1F-89A2-53D8B6F86BFE}"/>
                </a:ext>
              </a:extLst>
            </p:cNvPr>
            <p:cNvSpPr/>
            <p:nvPr/>
          </p:nvSpPr>
          <p:spPr>
            <a:xfrm>
              <a:off x="777875"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49" name="Freeform: Shape 2048">
              <a:extLst>
                <a:ext uri="{FF2B5EF4-FFF2-40B4-BE49-F238E27FC236}">
                  <a16:creationId xmlns:a16="http://schemas.microsoft.com/office/drawing/2014/main" id="{874C1606-86D7-4F5B-A25E-88F4DABB856E}"/>
                </a:ext>
              </a:extLst>
            </p:cNvPr>
            <p:cNvSpPr/>
            <p:nvPr/>
          </p:nvSpPr>
          <p:spPr>
            <a:xfrm>
              <a:off x="777875" y="2477441"/>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0" name="Freeform: Shape 2049">
              <a:extLst>
                <a:ext uri="{FF2B5EF4-FFF2-40B4-BE49-F238E27FC236}">
                  <a16:creationId xmlns:a16="http://schemas.microsoft.com/office/drawing/2014/main" id="{C735D385-F9E1-4442-AF7A-761496CBAD00}"/>
                </a:ext>
              </a:extLst>
            </p:cNvPr>
            <p:cNvSpPr/>
            <p:nvPr/>
          </p:nvSpPr>
          <p:spPr>
            <a:xfrm>
              <a:off x="777875" y="2514549"/>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1" name="Freeform: Shape 2050">
              <a:extLst>
                <a:ext uri="{FF2B5EF4-FFF2-40B4-BE49-F238E27FC236}">
                  <a16:creationId xmlns:a16="http://schemas.microsoft.com/office/drawing/2014/main" id="{BFB4EC7D-E48D-405A-B0FE-5EA23C7FA715}"/>
                </a:ext>
              </a:extLst>
            </p:cNvPr>
            <p:cNvSpPr/>
            <p:nvPr/>
          </p:nvSpPr>
          <p:spPr>
            <a:xfrm>
              <a:off x="777875" y="2366118"/>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2" name="Freeform: Shape 2051">
              <a:extLst>
                <a:ext uri="{FF2B5EF4-FFF2-40B4-BE49-F238E27FC236}">
                  <a16:creationId xmlns:a16="http://schemas.microsoft.com/office/drawing/2014/main" id="{DE64248E-7FF3-48D8-BFA6-DAD55B8BEFA9}"/>
                </a:ext>
              </a:extLst>
            </p:cNvPr>
            <p:cNvSpPr/>
            <p:nvPr/>
          </p:nvSpPr>
          <p:spPr>
            <a:xfrm>
              <a:off x="777875" y="2440334"/>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3" name="Freeform: Shape 2052">
              <a:extLst>
                <a:ext uri="{FF2B5EF4-FFF2-40B4-BE49-F238E27FC236}">
                  <a16:creationId xmlns:a16="http://schemas.microsoft.com/office/drawing/2014/main" id="{095FA234-7AB7-4B17-A937-1B9EA00F5EF2}"/>
                </a:ext>
              </a:extLst>
            </p:cNvPr>
            <p:cNvSpPr/>
            <p:nvPr/>
          </p:nvSpPr>
          <p:spPr>
            <a:xfrm>
              <a:off x="777875" y="2403226"/>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5" name="Freeform: Shape 2054">
              <a:extLst>
                <a:ext uri="{FF2B5EF4-FFF2-40B4-BE49-F238E27FC236}">
                  <a16:creationId xmlns:a16="http://schemas.microsoft.com/office/drawing/2014/main" id="{BD753838-5217-460A-AF55-DC7D0A85EAAD}"/>
                </a:ext>
              </a:extLst>
            </p:cNvPr>
            <p:cNvSpPr/>
            <p:nvPr/>
          </p:nvSpPr>
          <p:spPr>
            <a:xfrm>
              <a:off x="777875"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7" name="Freeform: Shape 2056">
              <a:extLst>
                <a:ext uri="{FF2B5EF4-FFF2-40B4-BE49-F238E27FC236}">
                  <a16:creationId xmlns:a16="http://schemas.microsoft.com/office/drawing/2014/main" id="{0C90FEF1-936D-441C-9189-6A4D78BB3666}"/>
                </a:ext>
              </a:extLst>
            </p:cNvPr>
            <p:cNvSpPr/>
            <p:nvPr/>
          </p:nvSpPr>
          <p:spPr>
            <a:xfrm>
              <a:off x="948532"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9" name="Freeform: Shape 2058">
              <a:extLst>
                <a:ext uri="{FF2B5EF4-FFF2-40B4-BE49-F238E27FC236}">
                  <a16:creationId xmlns:a16="http://schemas.microsoft.com/office/drawing/2014/main" id="{01B8FD81-14A2-4D4C-B5B3-8FAD9F6BD75D}"/>
                </a:ext>
              </a:extLst>
            </p:cNvPr>
            <p:cNvSpPr/>
            <p:nvPr/>
          </p:nvSpPr>
          <p:spPr>
            <a:xfrm>
              <a:off x="880269"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1" name="Freeform: Shape 2060">
              <a:extLst>
                <a:ext uri="{FF2B5EF4-FFF2-40B4-BE49-F238E27FC236}">
                  <a16:creationId xmlns:a16="http://schemas.microsoft.com/office/drawing/2014/main" id="{E896F1FF-BBAE-4935-9125-91DA020F8DF5}"/>
                </a:ext>
              </a:extLst>
            </p:cNvPr>
            <p:cNvSpPr/>
            <p:nvPr/>
          </p:nvSpPr>
          <p:spPr>
            <a:xfrm>
              <a:off x="846138"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2" name="Freeform: Shape 2061">
              <a:extLst>
                <a:ext uri="{FF2B5EF4-FFF2-40B4-BE49-F238E27FC236}">
                  <a16:creationId xmlns:a16="http://schemas.microsoft.com/office/drawing/2014/main" id="{76C1C287-A004-4F9D-A487-4D084B508521}"/>
                </a:ext>
              </a:extLst>
            </p:cNvPr>
            <p:cNvSpPr/>
            <p:nvPr/>
          </p:nvSpPr>
          <p:spPr>
            <a:xfrm>
              <a:off x="812007"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3" name="Freeform: Shape 2062">
              <a:extLst>
                <a:ext uri="{FF2B5EF4-FFF2-40B4-BE49-F238E27FC236}">
                  <a16:creationId xmlns:a16="http://schemas.microsoft.com/office/drawing/2014/main" id="{4E0524C1-7B74-4828-BB53-51BFC1C5BFB2}"/>
                </a:ext>
              </a:extLst>
            </p:cNvPr>
            <p:cNvSpPr/>
            <p:nvPr/>
          </p:nvSpPr>
          <p:spPr>
            <a:xfrm>
              <a:off x="914401"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4" name="Freeform: Shape 2063">
              <a:extLst>
                <a:ext uri="{FF2B5EF4-FFF2-40B4-BE49-F238E27FC236}">
                  <a16:creationId xmlns:a16="http://schemas.microsoft.com/office/drawing/2014/main" id="{7EE9B45B-D560-481B-ABE6-A079C21B559C}"/>
                </a:ext>
              </a:extLst>
            </p:cNvPr>
            <p:cNvSpPr/>
            <p:nvPr/>
          </p:nvSpPr>
          <p:spPr>
            <a:xfrm>
              <a:off x="982663"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5" name="Freeform: Shape 2064">
              <a:extLst>
                <a:ext uri="{FF2B5EF4-FFF2-40B4-BE49-F238E27FC236}">
                  <a16:creationId xmlns:a16="http://schemas.microsoft.com/office/drawing/2014/main" id="{00CCB4BA-B688-4447-B747-BDE1F9AADA52}"/>
                </a:ext>
              </a:extLst>
            </p:cNvPr>
            <p:cNvSpPr/>
            <p:nvPr/>
          </p:nvSpPr>
          <p:spPr>
            <a:xfrm>
              <a:off x="982663" y="2403226"/>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6" name="Freeform: Shape 2065">
              <a:extLst>
                <a:ext uri="{FF2B5EF4-FFF2-40B4-BE49-F238E27FC236}">
                  <a16:creationId xmlns:a16="http://schemas.microsoft.com/office/drawing/2014/main" id="{564F4E0C-50DB-493D-A44A-76447CE2B419}"/>
                </a:ext>
              </a:extLst>
            </p:cNvPr>
            <p:cNvSpPr/>
            <p:nvPr/>
          </p:nvSpPr>
          <p:spPr>
            <a:xfrm>
              <a:off x="982663" y="2477441"/>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7" name="Freeform: Shape 2066">
              <a:extLst>
                <a:ext uri="{FF2B5EF4-FFF2-40B4-BE49-F238E27FC236}">
                  <a16:creationId xmlns:a16="http://schemas.microsoft.com/office/drawing/2014/main" id="{B6C106C5-3AFB-4788-8143-EC94D66CB11A}"/>
                </a:ext>
              </a:extLst>
            </p:cNvPr>
            <p:cNvSpPr/>
            <p:nvPr/>
          </p:nvSpPr>
          <p:spPr>
            <a:xfrm>
              <a:off x="982663" y="2440334"/>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8" name="Freeform: Shape 2067">
              <a:extLst>
                <a:ext uri="{FF2B5EF4-FFF2-40B4-BE49-F238E27FC236}">
                  <a16:creationId xmlns:a16="http://schemas.microsoft.com/office/drawing/2014/main" id="{344171CD-5173-4A0E-A3A6-0B60AA9F71FF}"/>
                </a:ext>
              </a:extLst>
            </p:cNvPr>
            <p:cNvSpPr/>
            <p:nvPr/>
          </p:nvSpPr>
          <p:spPr>
            <a:xfrm>
              <a:off x="982663" y="2514549"/>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9" name="Freeform: Shape 2068">
              <a:extLst>
                <a:ext uri="{FF2B5EF4-FFF2-40B4-BE49-F238E27FC236}">
                  <a16:creationId xmlns:a16="http://schemas.microsoft.com/office/drawing/2014/main" id="{0F95AB3E-8EC1-4B86-8F13-6587DA7164FC}"/>
                </a:ext>
              </a:extLst>
            </p:cNvPr>
            <p:cNvSpPr/>
            <p:nvPr/>
          </p:nvSpPr>
          <p:spPr>
            <a:xfrm>
              <a:off x="982663" y="2366118"/>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0" name="Freeform: Shape 2069">
              <a:extLst>
                <a:ext uri="{FF2B5EF4-FFF2-40B4-BE49-F238E27FC236}">
                  <a16:creationId xmlns:a16="http://schemas.microsoft.com/office/drawing/2014/main" id="{FF07DA43-D3D3-4488-AE70-2A32E2A93917}"/>
                </a:ext>
              </a:extLst>
            </p:cNvPr>
            <p:cNvSpPr/>
            <p:nvPr/>
          </p:nvSpPr>
          <p:spPr>
            <a:xfrm>
              <a:off x="308579" y="2430899"/>
              <a:ext cx="443698" cy="18711"/>
            </a:xfrm>
            <a:custGeom>
              <a:avLst/>
              <a:gdLst>
                <a:gd name="connsiteX0" fmla="*/ 0 w 443698"/>
                <a:gd name="connsiteY0" fmla="*/ 0 h 18711"/>
                <a:gd name="connsiteX1" fmla="*/ 0 w 443698"/>
                <a:gd name="connsiteY1" fmla="*/ 18712 h 18711"/>
                <a:gd name="connsiteX2" fmla="*/ 443698 w 443698"/>
                <a:gd name="connsiteY2" fmla="*/ 18554 h 18711"/>
                <a:gd name="connsiteX3" fmla="*/ 443698 w 443698"/>
                <a:gd name="connsiteY3" fmla="*/ 0 h 18711"/>
                <a:gd name="connsiteX4" fmla="*/ 0 w 443698"/>
                <a:gd name="connsiteY4" fmla="*/ 0 h 18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698" h="18711">
                  <a:moveTo>
                    <a:pt x="0" y="0"/>
                  </a:moveTo>
                  <a:lnTo>
                    <a:pt x="0" y="18712"/>
                  </a:lnTo>
                  <a:lnTo>
                    <a:pt x="443698" y="18554"/>
                  </a:lnTo>
                  <a:lnTo>
                    <a:pt x="443698" y="0"/>
                  </a:lnTo>
                  <a:lnTo>
                    <a:pt x="0" y="0"/>
                  </a:lnTo>
                  <a:close/>
                </a:path>
              </a:pathLst>
            </a:custGeom>
            <a:solidFill>
              <a:srgbClr val="FF0000"/>
            </a:solidFill>
            <a:ln w="8533" cap="flat">
              <a:noFill/>
              <a:prstDash val="solid"/>
              <a:miter/>
            </a:ln>
          </p:spPr>
          <p:txBody>
            <a:bodyPr rtlCol="0" anchor="ctr"/>
            <a:lstStyle/>
            <a:p>
              <a:endParaRPr lang="en-IN"/>
            </a:p>
          </p:txBody>
        </p:sp>
        <p:sp>
          <p:nvSpPr>
            <p:cNvPr id="2071" name="Freeform: Shape 2070">
              <a:extLst>
                <a:ext uri="{FF2B5EF4-FFF2-40B4-BE49-F238E27FC236}">
                  <a16:creationId xmlns:a16="http://schemas.microsoft.com/office/drawing/2014/main" id="{49988DBF-6282-4BB5-92FF-FB506F825809}"/>
                </a:ext>
              </a:extLst>
            </p:cNvPr>
            <p:cNvSpPr/>
            <p:nvPr/>
          </p:nvSpPr>
          <p:spPr>
            <a:xfrm>
              <a:off x="820540" y="2430899"/>
              <a:ext cx="85362" cy="92927"/>
            </a:xfrm>
            <a:custGeom>
              <a:avLst/>
              <a:gdLst>
                <a:gd name="connsiteX0" fmla="*/ 68297 w 85362"/>
                <a:gd name="connsiteY0" fmla="*/ 92927 h 92927"/>
                <a:gd name="connsiteX1" fmla="*/ 85362 w 85362"/>
                <a:gd name="connsiteY1" fmla="*/ 92927 h 92927"/>
                <a:gd name="connsiteX2" fmla="*/ 85362 w 85362"/>
                <a:gd name="connsiteY2" fmla="*/ 18554 h 92927"/>
                <a:gd name="connsiteX3" fmla="*/ 85362 w 85362"/>
                <a:gd name="connsiteY3" fmla="*/ 0 h 92927"/>
                <a:gd name="connsiteX4" fmla="*/ 68297 w 85362"/>
                <a:gd name="connsiteY4" fmla="*/ 0 h 92927"/>
                <a:gd name="connsiteX5" fmla="*/ 0 w 85362"/>
                <a:gd name="connsiteY5" fmla="*/ 0 h 92927"/>
                <a:gd name="connsiteX6" fmla="*/ 0 w 85362"/>
                <a:gd name="connsiteY6" fmla="*/ 18554 h 92927"/>
                <a:gd name="connsiteX7" fmla="*/ 68297 w 85362"/>
                <a:gd name="connsiteY7" fmla="*/ 18554 h 92927"/>
                <a:gd name="connsiteX8" fmla="*/ 68297 w 85362"/>
                <a:gd name="connsiteY8" fmla="*/ 92927 h 9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62" h="92927">
                  <a:moveTo>
                    <a:pt x="68297" y="92927"/>
                  </a:moveTo>
                  <a:lnTo>
                    <a:pt x="85362" y="92927"/>
                  </a:lnTo>
                  <a:lnTo>
                    <a:pt x="85362" y="18554"/>
                  </a:lnTo>
                  <a:lnTo>
                    <a:pt x="85362" y="0"/>
                  </a:lnTo>
                  <a:lnTo>
                    <a:pt x="68297" y="0"/>
                  </a:lnTo>
                  <a:lnTo>
                    <a:pt x="0" y="0"/>
                  </a:lnTo>
                  <a:lnTo>
                    <a:pt x="0" y="18554"/>
                  </a:lnTo>
                  <a:lnTo>
                    <a:pt x="68297" y="18554"/>
                  </a:lnTo>
                  <a:lnTo>
                    <a:pt x="68297" y="92927"/>
                  </a:lnTo>
                  <a:close/>
                </a:path>
              </a:pathLst>
            </a:custGeom>
            <a:solidFill>
              <a:srgbClr val="FF0000"/>
            </a:solidFill>
            <a:ln w="8533" cap="flat">
              <a:noFill/>
              <a:prstDash val="solid"/>
              <a:miter/>
            </a:ln>
          </p:spPr>
          <p:txBody>
            <a:bodyPr rtlCol="0" anchor="ctr"/>
            <a:lstStyle/>
            <a:p>
              <a:endParaRPr lang="en-IN"/>
            </a:p>
          </p:txBody>
        </p:sp>
        <p:sp>
          <p:nvSpPr>
            <p:cNvPr id="2072" name="Freeform: Shape 2071">
              <a:extLst>
                <a:ext uri="{FF2B5EF4-FFF2-40B4-BE49-F238E27FC236}">
                  <a16:creationId xmlns:a16="http://schemas.microsoft.com/office/drawing/2014/main" id="{D1360853-4D99-4D59-897A-8F9CB7A1EB4F}"/>
                </a:ext>
              </a:extLst>
            </p:cNvPr>
            <p:cNvSpPr/>
            <p:nvPr/>
          </p:nvSpPr>
          <p:spPr>
            <a:xfrm>
              <a:off x="308579" y="2598042"/>
              <a:ext cx="597323" cy="259708"/>
            </a:xfrm>
            <a:custGeom>
              <a:avLst/>
              <a:gdLst>
                <a:gd name="connsiteX0" fmla="*/ 0 w 597323"/>
                <a:gd name="connsiteY0" fmla="*/ 102047 h 259708"/>
                <a:gd name="connsiteX1" fmla="*/ 0 w 597323"/>
                <a:gd name="connsiteY1" fmla="*/ 241155 h 259708"/>
                <a:gd name="connsiteX2" fmla="*/ 0 w 597323"/>
                <a:gd name="connsiteY2" fmla="*/ 259708 h 259708"/>
                <a:gd name="connsiteX3" fmla="*/ 17066 w 597323"/>
                <a:gd name="connsiteY3" fmla="*/ 259708 h 259708"/>
                <a:gd name="connsiteX4" fmla="*/ 580258 w 597323"/>
                <a:gd name="connsiteY4" fmla="*/ 259708 h 259708"/>
                <a:gd name="connsiteX5" fmla="*/ 597323 w 597323"/>
                <a:gd name="connsiteY5" fmla="*/ 259708 h 259708"/>
                <a:gd name="connsiteX6" fmla="*/ 597323 w 597323"/>
                <a:gd name="connsiteY6" fmla="*/ 241155 h 259708"/>
                <a:gd name="connsiteX7" fmla="*/ 597323 w 597323"/>
                <a:gd name="connsiteY7" fmla="*/ 0 h 259708"/>
                <a:gd name="connsiteX8" fmla="*/ 580258 w 597323"/>
                <a:gd name="connsiteY8" fmla="*/ 0 h 259708"/>
                <a:gd name="connsiteX9" fmla="*/ 580258 w 597323"/>
                <a:gd name="connsiteY9" fmla="*/ 241155 h 259708"/>
                <a:gd name="connsiteX10" fmla="*/ 17066 w 597323"/>
                <a:gd name="connsiteY10" fmla="*/ 241155 h 259708"/>
                <a:gd name="connsiteX11" fmla="*/ 17066 w 597323"/>
                <a:gd name="connsiteY11" fmla="*/ 102047 h 259708"/>
                <a:gd name="connsiteX12" fmla="*/ 0 w 597323"/>
                <a:gd name="connsiteY12" fmla="*/ 102047 h 25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323" h="259708">
                  <a:moveTo>
                    <a:pt x="0" y="102047"/>
                  </a:moveTo>
                  <a:lnTo>
                    <a:pt x="0" y="241155"/>
                  </a:lnTo>
                  <a:lnTo>
                    <a:pt x="0" y="259708"/>
                  </a:lnTo>
                  <a:lnTo>
                    <a:pt x="17066" y="259708"/>
                  </a:lnTo>
                  <a:lnTo>
                    <a:pt x="580258" y="259708"/>
                  </a:lnTo>
                  <a:lnTo>
                    <a:pt x="597323" y="259708"/>
                  </a:lnTo>
                  <a:lnTo>
                    <a:pt x="597323" y="241155"/>
                  </a:lnTo>
                  <a:lnTo>
                    <a:pt x="597323" y="0"/>
                  </a:lnTo>
                  <a:lnTo>
                    <a:pt x="580258" y="0"/>
                  </a:lnTo>
                  <a:lnTo>
                    <a:pt x="580258" y="241155"/>
                  </a:lnTo>
                  <a:lnTo>
                    <a:pt x="17066" y="241155"/>
                  </a:lnTo>
                  <a:lnTo>
                    <a:pt x="17066" y="102047"/>
                  </a:lnTo>
                  <a:lnTo>
                    <a:pt x="0" y="102047"/>
                  </a:lnTo>
                  <a:close/>
                </a:path>
              </a:pathLst>
            </a:custGeom>
            <a:solidFill>
              <a:srgbClr val="FF0000"/>
            </a:solidFill>
            <a:ln w="8533" cap="flat">
              <a:noFill/>
              <a:prstDash val="solid"/>
              <a:miter/>
            </a:ln>
          </p:spPr>
          <p:txBody>
            <a:bodyPr rtlCol="0" anchor="ctr"/>
            <a:lstStyle/>
            <a:p>
              <a:endParaRPr lang="en-IN"/>
            </a:p>
          </p:txBody>
        </p:sp>
        <p:sp>
          <p:nvSpPr>
            <p:cNvPr id="2073" name="Freeform: Shape 2072">
              <a:extLst>
                <a:ext uri="{FF2B5EF4-FFF2-40B4-BE49-F238E27FC236}">
                  <a16:creationId xmlns:a16="http://schemas.microsoft.com/office/drawing/2014/main" id="{F3E2B0AE-45AA-418E-8B9E-F042E844D044}"/>
                </a:ext>
              </a:extLst>
            </p:cNvPr>
            <p:cNvSpPr/>
            <p:nvPr/>
          </p:nvSpPr>
          <p:spPr>
            <a:xfrm>
              <a:off x="265906" y="2384505"/>
              <a:ext cx="486370" cy="65105"/>
            </a:xfrm>
            <a:custGeom>
              <a:avLst/>
              <a:gdLst>
                <a:gd name="connsiteX0" fmla="*/ 17066 w 486370"/>
                <a:gd name="connsiteY0" fmla="*/ 37108 h 65105"/>
                <a:gd name="connsiteX1" fmla="*/ 34131 w 486370"/>
                <a:gd name="connsiteY1" fmla="*/ 18554 h 65105"/>
                <a:gd name="connsiteX2" fmla="*/ 486371 w 486370"/>
                <a:gd name="connsiteY2" fmla="*/ 18554 h 65105"/>
                <a:gd name="connsiteX3" fmla="*/ 486371 w 486370"/>
                <a:gd name="connsiteY3" fmla="*/ 0 h 65105"/>
                <a:gd name="connsiteX4" fmla="*/ 34131 w 486370"/>
                <a:gd name="connsiteY4" fmla="*/ 0 h 65105"/>
                <a:gd name="connsiteX5" fmla="*/ 0 w 486370"/>
                <a:gd name="connsiteY5" fmla="*/ 37108 h 65105"/>
                <a:gd name="connsiteX6" fmla="*/ 0 w 486370"/>
                <a:gd name="connsiteY6" fmla="*/ 65106 h 65105"/>
                <a:gd name="connsiteX7" fmla="*/ 17066 w 486370"/>
                <a:gd name="connsiteY7" fmla="*/ 65106 h 6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370" h="65105">
                  <a:moveTo>
                    <a:pt x="17066" y="37108"/>
                  </a:moveTo>
                  <a:cubicBezTo>
                    <a:pt x="17066" y="26860"/>
                    <a:pt x="24706" y="18554"/>
                    <a:pt x="34131" y="18554"/>
                  </a:cubicBezTo>
                  <a:lnTo>
                    <a:pt x="486371" y="18554"/>
                  </a:lnTo>
                  <a:lnTo>
                    <a:pt x="486371" y="0"/>
                  </a:lnTo>
                  <a:lnTo>
                    <a:pt x="34131" y="0"/>
                  </a:lnTo>
                  <a:cubicBezTo>
                    <a:pt x="15304" y="61"/>
                    <a:pt x="56" y="16639"/>
                    <a:pt x="0" y="37108"/>
                  </a:cubicBezTo>
                  <a:lnTo>
                    <a:pt x="0" y="65106"/>
                  </a:lnTo>
                  <a:lnTo>
                    <a:pt x="17066" y="65106"/>
                  </a:lnTo>
                  <a:close/>
                </a:path>
              </a:pathLst>
            </a:custGeom>
            <a:solidFill>
              <a:srgbClr val="FF0000"/>
            </a:solidFill>
            <a:ln w="8533" cap="flat">
              <a:noFill/>
              <a:prstDash val="solid"/>
              <a:miter/>
            </a:ln>
          </p:spPr>
          <p:txBody>
            <a:bodyPr rtlCol="0" anchor="ctr"/>
            <a:lstStyle/>
            <a:p>
              <a:endParaRPr lang="en-IN"/>
            </a:p>
          </p:txBody>
        </p:sp>
        <p:sp>
          <p:nvSpPr>
            <p:cNvPr id="2074" name="Freeform: Shape 2073">
              <a:extLst>
                <a:ext uri="{FF2B5EF4-FFF2-40B4-BE49-F238E27FC236}">
                  <a16:creationId xmlns:a16="http://schemas.microsoft.com/office/drawing/2014/main" id="{1CAD8608-16ED-4E70-94EB-9BBEFE7A07D8}"/>
                </a:ext>
              </a:extLst>
            </p:cNvPr>
            <p:cNvSpPr/>
            <p:nvPr/>
          </p:nvSpPr>
          <p:spPr>
            <a:xfrm>
              <a:off x="820540" y="2384505"/>
              <a:ext cx="127992" cy="139321"/>
            </a:xfrm>
            <a:custGeom>
              <a:avLst/>
              <a:gdLst>
                <a:gd name="connsiteX0" fmla="*/ 110927 w 127992"/>
                <a:gd name="connsiteY0" fmla="*/ 37108 h 139321"/>
                <a:gd name="connsiteX1" fmla="*/ 110927 w 127992"/>
                <a:gd name="connsiteY1" fmla="*/ 139321 h 139321"/>
                <a:gd name="connsiteX2" fmla="*/ 127992 w 127992"/>
                <a:gd name="connsiteY2" fmla="*/ 139321 h 139321"/>
                <a:gd name="connsiteX3" fmla="*/ 127992 w 127992"/>
                <a:gd name="connsiteY3" fmla="*/ 37108 h 139321"/>
                <a:gd name="connsiteX4" fmla="*/ 93861 w 127992"/>
                <a:gd name="connsiteY4" fmla="*/ 0 h 139321"/>
                <a:gd name="connsiteX5" fmla="*/ 0 w 127992"/>
                <a:gd name="connsiteY5" fmla="*/ 0 h 139321"/>
                <a:gd name="connsiteX6" fmla="*/ 0 w 127992"/>
                <a:gd name="connsiteY6" fmla="*/ 18554 h 139321"/>
                <a:gd name="connsiteX7" fmla="*/ 93861 w 127992"/>
                <a:gd name="connsiteY7" fmla="*/ 18554 h 139321"/>
                <a:gd name="connsiteX8" fmla="*/ 110927 w 127992"/>
                <a:gd name="connsiteY8" fmla="*/ 37108 h 13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992" h="139321">
                  <a:moveTo>
                    <a:pt x="110927" y="37108"/>
                  </a:moveTo>
                  <a:lnTo>
                    <a:pt x="110927" y="139321"/>
                  </a:lnTo>
                  <a:lnTo>
                    <a:pt x="127992" y="139321"/>
                  </a:lnTo>
                  <a:lnTo>
                    <a:pt x="127992" y="37108"/>
                  </a:lnTo>
                  <a:cubicBezTo>
                    <a:pt x="127936" y="16639"/>
                    <a:pt x="112688" y="61"/>
                    <a:pt x="93861" y="0"/>
                  </a:cubicBezTo>
                  <a:lnTo>
                    <a:pt x="0" y="0"/>
                  </a:lnTo>
                  <a:lnTo>
                    <a:pt x="0" y="18554"/>
                  </a:lnTo>
                  <a:lnTo>
                    <a:pt x="93861" y="18554"/>
                  </a:lnTo>
                  <a:cubicBezTo>
                    <a:pt x="103286" y="18554"/>
                    <a:pt x="110927" y="26860"/>
                    <a:pt x="110927" y="37108"/>
                  </a:cubicBezTo>
                  <a:close/>
                </a:path>
              </a:pathLst>
            </a:custGeom>
            <a:solidFill>
              <a:srgbClr val="FF0000"/>
            </a:solidFill>
            <a:ln w="8533" cap="flat">
              <a:noFill/>
              <a:prstDash val="solid"/>
              <a:miter/>
            </a:ln>
          </p:spPr>
          <p:txBody>
            <a:bodyPr rtlCol="0" anchor="ctr"/>
            <a:lstStyle/>
            <a:p>
              <a:endParaRPr lang="en-IN"/>
            </a:p>
          </p:txBody>
        </p:sp>
        <p:sp>
          <p:nvSpPr>
            <p:cNvPr id="2075" name="Freeform: Shape 2074">
              <a:extLst>
                <a:ext uri="{FF2B5EF4-FFF2-40B4-BE49-F238E27FC236}">
                  <a16:creationId xmlns:a16="http://schemas.microsoft.com/office/drawing/2014/main" id="{8C54DE5F-D4F2-4AFA-BE44-F130D1A82C97}"/>
                </a:ext>
              </a:extLst>
            </p:cNvPr>
            <p:cNvSpPr/>
            <p:nvPr/>
          </p:nvSpPr>
          <p:spPr>
            <a:xfrm>
              <a:off x="265906" y="2598042"/>
              <a:ext cx="682625" cy="417463"/>
            </a:xfrm>
            <a:custGeom>
              <a:avLst/>
              <a:gdLst>
                <a:gd name="connsiteX0" fmla="*/ 665560 w 682625"/>
                <a:gd name="connsiteY0" fmla="*/ 269032 h 417463"/>
                <a:gd name="connsiteX1" fmla="*/ 648495 w 682625"/>
                <a:gd name="connsiteY1" fmla="*/ 287586 h 417463"/>
                <a:gd name="connsiteX2" fmla="*/ 34131 w 682625"/>
                <a:gd name="connsiteY2" fmla="*/ 287586 h 417463"/>
                <a:gd name="connsiteX3" fmla="*/ 17066 w 682625"/>
                <a:gd name="connsiteY3" fmla="*/ 269032 h 417463"/>
                <a:gd name="connsiteX4" fmla="*/ 17066 w 682625"/>
                <a:gd name="connsiteY4" fmla="*/ 102047 h 417463"/>
                <a:gd name="connsiteX5" fmla="*/ 0 w 682625"/>
                <a:gd name="connsiteY5" fmla="*/ 102047 h 417463"/>
                <a:gd name="connsiteX6" fmla="*/ 0 w 682625"/>
                <a:gd name="connsiteY6" fmla="*/ 269032 h 417463"/>
                <a:gd name="connsiteX7" fmla="*/ 34131 w 682625"/>
                <a:gd name="connsiteY7" fmla="*/ 306140 h 417463"/>
                <a:gd name="connsiteX8" fmla="*/ 281583 w 682625"/>
                <a:gd name="connsiteY8" fmla="*/ 306140 h 417463"/>
                <a:gd name="connsiteX9" fmla="*/ 281583 w 682625"/>
                <a:gd name="connsiteY9" fmla="*/ 398909 h 417463"/>
                <a:gd name="connsiteX10" fmla="*/ 187722 w 682625"/>
                <a:gd name="connsiteY10" fmla="*/ 398909 h 417463"/>
                <a:gd name="connsiteX11" fmla="*/ 187722 w 682625"/>
                <a:gd name="connsiteY11" fmla="*/ 417463 h 417463"/>
                <a:gd name="connsiteX12" fmla="*/ 494904 w 682625"/>
                <a:gd name="connsiteY12" fmla="*/ 417463 h 417463"/>
                <a:gd name="connsiteX13" fmla="*/ 494904 w 682625"/>
                <a:gd name="connsiteY13" fmla="*/ 398909 h 417463"/>
                <a:gd name="connsiteX14" fmla="*/ 401043 w 682625"/>
                <a:gd name="connsiteY14" fmla="*/ 398909 h 417463"/>
                <a:gd name="connsiteX15" fmla="*/ 401043 w 682625"/>
                <a:gd name="connsiteY15" fmla="*/ 306140 h 417463"/>
                <a:gd name="connsiteX16" fmla="*/ 648495 w 682625"/>
                <a:gd name="connsiteY16" fmla="*/ 306140 h 417463"/>
                <a:gd name="connsiteX17" fmla="*/ 682626 w 682625"/>
                <a:gd name="connsiteY17" fmla="*/ 269032 h 417463"/>
                <a:gd name="connsiteX18" fmla="*/ 682626 w 682625"/>
                <a:gd name="connsiteY18" fmla="*/ 0 h 417463"/>
                <a:gd name="connsiteX19" fmla="*/ 665560 w 682625"/>
                <a:gd name="connsiteY19" fmla="*/ 0 h 417463"/>
                <a:gd name="connsiteX20" fmla="*/ 383977 w 682625"/>
                <a:gd name="connsiteY20" fmla="*/ 398909 h 417463"/>
                <a:gd name="connsiteX21" fmla="*/ 298649 w 682625"/>
                <a:gd name="connsiteY21" fmla="*/ 398909 h 417463"/>
                <a:gd name="connsiteX22" fmla="*/ 298649 w 682625"/>
                <a:gd name="connsiteY22" fmla="*/ 306140 h 417463"/>
                <a:gd name="connsiteX23" fmla="*/ 383977 w 682625"/>
                <a:gd name="connsiteY23" fmla="*/ 306140 h 4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2625" h="417463">
                  <a:moveTo>
                    <a:pt x="665560" y="269032"/>
                  </a:moveTo>
                  <a:cubicBezTo>
                    <a:pt x="665560" y="279279"/>
                    <a:pt x="657920" y="287586"/>
                    <a:pt x="648495" y="287586"/>
                  </a:cubicBezTo>
                  <a:lnTo>
                    <a:pt x="34131" y="287586"/>
                  </a:lnTo>
                  <a:cubicBezTo>
                    <a:pt x="24706" y="287586"/>
                    <a:pt x="17066" y="279279"/>
                    <a:pt x="17066" y="269032"/>
                  </a:cubicBezTo>
                  <a:lnTo>
                    <a:pt x="17066" y="102047"/>
                  </a:lnTo>
                  <a:lnTo>
                    <a:pt x="0" y="102047"/>
                  </a:lnTo>
                  <a:lnTo>
                    <a:pt x="0" y="269032"/>
                  </a:lnTo>
                  <a:cubicBezTo>
                    <a:pt x="61" y="289499"/>
                    <a:pt x="15306" y="306074"/>
                    <a:pt x="34131" y="306140"/>
                  </a:cubicBezTo>
                  <a:lnTo>
                    <a:pt x="281583" y="306140"/>
                  </a:lnTo>
                  <a:lnTo>
                    <a:pt x="281583" y="398909"/>
                  </a:lnTo>
                  <a:lnTo>
                    <a:pt x="187722" y="398909"/>
                  </a:lnTo>
                  <a:lnTo>
                    <a:pt x="187722" y="417463"/>
                  </a:lnTo>
                  <a:lnTo>
                    <a:pt x="494904" y="417463"/>
                  </a:lnTo>
                  <a:lnTo>
                    <a:pt x="494904" y="398909"/>
                  </a:lnTo>
                  <a:lnTo>
                    <a:pt x="401043" y="398909"/>
                  </a:lnTo>
                  <a:lnTo>
                    <a:pt x="401043" y="306140"/>
                  </a:lnTo>
                  <a:lnTo>
                    <a:pt x="648495" y="306140"/>
                  </a:lnTo>
                  <a:cubicBezTo>
                    <a:pt x="667320" y="306074"/>
                    <a:pt x="682565" y="289499"/>
                    <a:pt x="682626" y="269032"/>
                  </a:cubicBezTo>
                  <a:lnTo>
                    <a:pt x="682626" y="0"/>
                  </a:lnTo>
                  <a:lnTo>
                    <a:pt x="665560" y="0"/>
                  </a:lnTo>
                  <a:close/>
                  <a:moveTo>
                    <a:pt x="383977" y="398909"/>
                  </a:moveTo>
                  <a:lnTo>
                    <a:pt x="298649" y="398909"/>
                  </a:lnTo>
                  <a:lnTo>
                    <a:pt x="298649" y="306140"/>
                  </a:lnTo>
                  <a:lnTo>
                    <a:pt x="383977" y="306140"/>
                  </a:lnTo>
                  <a:close/>
                </a:path>
              </a:pathLst>
            </a:custGeom>
            <a:solidFill>
              <a:srgbClr val="FF0000"/>
            </a:solidFill>
            <a:ln w="8533" cap="flat">
              <a:noFill/>
              <a:prstDash val="solid"/>
              <a:miter/>
            </a:ln>
          </p:spPr>
          <p:txBody>
            <a:bodyPr rtlCol="0" anchor="ctr"/>
            <a:lstStyle/>
            <a:p>
              <a:endParaRPr lang="en-IN"/>
            </a:p>
          </p:txBody>
        </p:sp>
        <p:sp>
          <p:nvSpPr>
            <p:cNvPr id="2076" name="Freeform: Shape 2075">
              <a:extLst>
                <a:ext uri="{FF2B5EF4-FFF2-40B4-BE49-F238E27FC236}">
                  <a16:creationId xmlns:a16="http://schemas.microsoft.com/office/drawing/2014/main" id="{779103D1-8AA7-4A41-A341-5D24D2C21F83}"/>
                </a:ext>
              </a:extLst>
            </p:cNvPr>
            <p:cNvSpPr/>
            <p:nvPr/>
          </p:nvSpPr>
          <p:spPr>
            <a:xfrm>
              <a:off x="214709" y="2477441"/>
              <a:ext cx="221853" cy="194816"/>
            </a:xfrm>
            <a:custGeom>
              <a:avLst/>
              <a:gdLst>
                <a:gd name="connsiteX0" fmla="*/ 221853 w 221853"/>
                <a:gd name="connsiteY0" fmla="*/ 0 h 194816"/>
                <a:gd name="connsiteX1" fmla="*/ 0 w 221853"/>
                <a:gd name="connsiteY1" fmla="*/ 0 h 194816"/>
                <a:gd name="connsiteX2" fmla="*/ 0 w 221853"/>
                <a:gd name="connsiteY2" fmla="*/ 194816 h 194816"/>
                <a:gd name="connsiteX3" fmla="*/ 221853 w 221853"/>
                <a:gd name="connsiteY3" fmla="*/ 194816 h 194816"/>
                <a:gd name="connsiteX4" fmla="*/ 204788 w 221853"/>
                <a:gd name="connsiteY4" fmla="*/ 176262 h 194816"/>
                <a:gd name="connsiteX5" fmla="*/ 17066 w 221853"/>
                <a:gd name="connsiteY5" fmla="*/ 176262 h 194816"/>
                <a:gd name="connsiteX6" fmla="*/ 17066 w 221853"/>
                <a:gd name="connsiteY6" fmla="*/ 18554 h 194816"/>
                <a:gd name="connsiteX7" fmla="*/ 204788 w 221853"/>
                <a:gd name="connsiteY7" fmla="*/ 18554 h 19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853" h="194816">
                  <a:moveTo>
                    <a:pt x="221853" y="0"/>
                  </a:moveTo>
                  <a:lnTo>
                    <a:pt x="0" y="0"/>
                  </a:lnTo>
                  <a:lnTo>
                    <a:pt x="0" y="194816"/>
                  </a:lnTo>
                  <a:lnTo>
                    <a:pt x="221853" y="194816"/>
                  </a:lnTo>
                  <a:close/>
                  <a:moveTo>
                    <a:pt x="204788" y="176262"/>
                  </a:moveTo>
                  <a:lnTo>
                    <a:pt x="17066" y="176262"/>
                  </a:lnTo>
                  <a:lnTo>
                    <a:pt x="17066" y="18554"/>
                  </a:lnTo>
                  <a:lnTo>
                    <a:pt x="204788" y="18554"/>
                  </a:lnTo>
                  <a:close/>
                </a:path>
              </a:pathLst>
            </a:custGeom>
            <a:solidFill>
              <a:srgbClr val="FF0000"/>
            </a:solidFill>
            <a:ln w="8533" cap="flat">
              <a:noFill/>
              <a:prstDash val="solid"/>
              <a:miter/>
            </a:ln>
          </p:spPr>
          <p:txBody>
            <a:bodyPr rtlCol="0" anchor="ctr"/>
            <a:lstStyle/>
            <a:p>
              <a:endParaRPr lang="en-IN"/>
            </a:p>
          </p:txBody>
        </p:sp>
        <p:sp>
          <p:nvSpPr>
            <p:cNvPr id="2077" name="Freeform: Shape 2076">
              <a:extLst>
                <a:ext uri="{FF2B5EF4-FFF2-40B4-BE49-F238E27FC236}">
                  <a16:creationId xmlns:a16="http://schemas.microsoft.com/office/drawing/2014/main" id="{6DF4F924-7303-458B-81A1-B28EED9AA9C4}"/>
                </a:ext>
              </a:extLst>
            </p:cNvPr>
            <p:cNvSpPr/>
            <p:nvPr/>
          </p:nvSpPr>
          <p:spPr>
            <a:xfrm>
              <a:off x="274439" y="2533103"/>
              <a:ext cx="102393" cy="18553"/>
            </a:xfrm>
            <a:custGeom>
              <a:avLst/>
              <a:gdLst>
                <a:gd name="connsiteX0" fmla="*/ 0 w 102393"/>
                <a:gd name="connsiteY0" fmla="*/ 0 h 18553"/>
                <a:gd name="connsiteX1" fmla="*/ 102394 w 102393"/>
                <a:gd name="connsiteY1" fmla="*/ 0 h 18553"/>
                <a:gd name="connsiteX2" fmla="*/ 102394 w 102393"/>
                <a:gd name="connsiteY2" fmla="*/ 18554 h 18553"/>
                <a:gd name="connsiteX3" fmla="*/ 0 w 102393"/>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02393" h="18553">
                  <a:moveTo>
                    <a:pt x="0" y="0"/>
                  </a:moveTo>
                  <a:lnTo>
                    <a:pt x="102394" y="0"/>
                  </a:lnTo>
                  <a:lnTo>
                    <a:pt x="102394"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8" name="Freeform: Shape 2077">
              <a:extLst>
                <a:ext uri="{FF2B5EF4-FFF2-40B4-BE49-F238E27FC236}">
                  <a16:creationId xmlns:a16="http://schemas.microsoft.com/office/drawing/2014/main" id="{F8588EA2-4539-42EA-9988-615517018E13}"/>
                </a:ext>
              </a:extLst>
            </p:cNvPr>
            <p:cNvSpPr/>
            <p:nvPr/>
          </p:nvSpPr>
          <p:spPr>
            <a:xfrm>
              <a:off x="274439" y="2588765"/>
              <a:ext cx="68262" cy="18553"/>
            </a:xfrm>
            <a:custGeom>
              <a:avLst/>
              <a:gdLst>
                <a:gd name="connsiteX0" fmla="*/ 0 w 68262"/>
                <a:gd name="connsiteY0" fmla="*/ 0 h 18553"/>
                <a:gd name="connsiteX1" fmla="*/ 68263 w 68262"/>
                <a:gd name="connsiteY1" fmla="*/ 0 h 18553"/>
                <a:gd name="connsiteX2" fmla="*/ 68263 w 68262"/>
                <a:gd name="connsiteY2" fmla="*/ 18554 h 18553"/>
                <a:gd name="connsiteX3" fmla="*/ 0 w 68262"/>
                <a:gd name="connsiteY3" fmla="*/ 18554 h 18553"/>
              </a:gdLst>
              <a:ahLst/>
              <a:cxnLst>
                <a:cxn ang="0">
                  <a:pos x="connsiteX0" y="connsiteY0"/>
                </a:cxn>
                <a:cxn ang="0">
                  <a:pos x="connsiteX1" y="connsiteY1"/>
                </a:cxn>
                <a:cxn ang="0">
                  <a:pos x="connsiteX2" y="connsiteY2"/>
                </a:cxn>
                <a:cxn ang="0">
                  <a:pos x="connsiteX3" y="connsiteY3"/>
                </a:cxn>
              </a:cxnLst>
              <a:rect l="l" t="t" r="r" b="b"/>
              <a:pathLst>
                <a:path w="68262" h="18553">
                  <a:moveTo>
                    <a:pt x="0" y="0"/>
                  </a:moveTo>
                  <a:lnTo>
                    <a:pt x="68263" y="0"/>
                  </a:lnTo>
                  <a:lnTo>
                    <a:pt x="68263"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9" name="Freeform: Shape 2078">
              <a:extLst>
                <a:ext uri="{FF2B5EF4-FFF2-40B4-BE49-F238E27FC236}">
                  <a16:creationId xmlns:a16="http://schemas.microsoft.com/office/drawing/2014/main" id="{60AFA587-1E92-4B39-ADB5-E00FF2395A6D}"/>
                </a:ext>
              </a:extLst>
            </p:cNvPr>
            <p:cNvSpPr/>
            <p:nvPr/>
          </p:nvSpPr>
          <p:spPr>
            <a:xfrm>
              <a:off x="487759" y="2514549"/>
              <a:ext cx="238919" cy="259754"/>
            </a:xfrm>
            <a:custGeom>
              <a:avLst/>
              <a:gdLst>
                <a:gd name="connsiteX0" fmla="*/ 119460 w 238919"/>
                <a:gd name="connsiteY0" fmla="*/ 259755 h 259754"/>
                <a:gd name="connsiteX1" fmla="*/ 238919 w 238919"/>
                <a:gd name="connsiteY1" fmla="*/ 129877 h 259754"/>
                <a:gd name="connsiteX2" fmla="*/ 119460 w 238919"/>
                <a:gd name="connsiteY2" fmla="*/ 0 h 259754"/>
                <a:gd name="connsiteX3" fmla="*/ 0 w 238919"/>
                <a:gd name="connsiteY3" fmla="*/ 129877 h 259754"/>
                <a:gd name="connsiteX4" fmla="*/ 119460 w 238919"/>
                <a:gd name="connsiteY4" fmla="*/ 259755 h 259754"/>
                <a:gd name="connsiteX5" fmla="*/ 59841 w 238919"/>
                <a:gd name="connsiteY5" fmla="*/ 220207 h 259754"/>
                <a:gd name="connsiteX6" fmla="*/ 121716 w 238919"/>
                <a:gd name="connsiteY6" fmla="*/ 157842 h 259754"/>
                <a:gd name="connsiteX7" fmla="*/ 179078 w 238919"/>
                <a:gd name="connsiteY7" fmla="*/ 220207 h 259754"/>
                <a:gd name="connsiteX8" fmla="*/ 59841 w 238919"/>
                <a:gd name="connsiteY8" fmla="*/ 220207 h 259754"/>
                <a:gd name="connsiteX9" fmla="*/ 93861 w 238919"/>
                <a:gd name="connsiteY9" fmla="*/ 111324 h 259754"/>
                <a:gd name="connsiteX10" fmla="*/ 119460 w 238919"/>
                <a:gd name="connsiteY10" fmla="*/ 83493 h 259754"/>
                <a:gd name="connsiteX11" fmla="*/ 145058 w 238919"/>
                <a:gd name="connsiteY11" fmla="*/ 111324 h 259754"/>
                <a:gd name="connsiteX12" fmla="*/ 119460 w 238919"/>
                <a:gd name="connsiteY12" fmla="*/ 139154 h 259754"/>
                <a:gd name="connsiteX13" fmla="*/ 93861 w 238919"/>
                <a:gd name="connsiteY13" fmla="*/ 111324 h 259754"/>
                <a:gd name="connsiteX14" fmla="*/ 119460 w 238919"/>
                <a:gd name="connsiteY14" fmla="*/ 18554 h 259754"/>
                <a:gd name="connsiteX15" fmla="*/ 221841 w 238919"/>
                <a:gd name="connsiteY15" fmla="*/ 129519 h 259754"/>
                <a:gd name="connsiteX16" fmla="*/ 194548 w 238919"/>
                <a:gd name="connsiteY16" fmla="*/ 205290 h 259754"/>
                <a:gd name="connsiteX17" fmla="*/ 148258 w 238919"/>
                <a:gd name="connsiteY17" fmla="*/ 145305 h 259754"/>
                <a:gd name="connsiteX18" fmla="*/ 150906 w 238919"/>
                <a:gd name="connsiteY18" fmla="*/ 79770 h 259754"/>
                <a:gd name="connsiteX19" fmla="*/ 90627 w 238919"/>
                <a:gd name="connsiteY19" fmla="*/ 76892 h 259754"/>
                <a:gd name="connsiteX20" fmla="*/ 87979 w 238919"/>
                <a:gd name="connsiteY20" fmla="*/ 142426 h 259754"/>
                <a:gd name="connsiteX21" fmla="*/ 90627 w 238919"/>
                <a:gd name="connsiteY21" fmla="*/ 145305 h 259754"/>
                <a:gd name="connsiteX22" fmla="*/ 44371 w 238919"/>
                <a:gd name="connsiteY22" fmla="*/ 205290 h 259754"/>
                <a:gd name="connsiteX23" fmla="*/ 49767 w 238919"/>
                <a:gd name="connsiteY23" fmla="*/ 48226 h 259754"/>
                <a:gd name="connsiteX24" fmla="*/ 119460 w 238919"/>
                <a:gd name="connsiteY24" fmla="*/ 18554 h 25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8919" h="259754">
                  <a:moveTo>
                    <a:pt x="119460" y="259755"/>
                  </a:moveTo>
                  <a:cubicBezTo>
                    <a:pt x="185435" y="259755"/>
                    <a:pt x="238919" y="201607"/>
                    <a:pt x="238919" y="129877"/>
                  </a:cubicBezTo>
                  <a:cubicBezTo>
                    <a:pt x="238919" y="58148"/>
                    <a:pt x="185435" y="0"/>
                    <a:pt x="119460" y="0"/>
                  </a:cubicBezTo>
                  <a:cubicBezTo>
                    <a:pt x="53484" y="0"/>
                    <a:pt x="0" y="58148"/>
                    <a:pt x="0" y="129877"/>
                  </a:cubicBezTo>
                  <a:cubicBezTo>
                    <a:pt x="71" y="201575"/>
                    <a:pt x="53513" y="259678"/>
                    <a:pt x="119460" y="259755"/>
                  </a:cubicBezTo>
                  <a:close/>
                  <a:moveTo>
                    <a:pt x="59841" y="220207"/>
                  </a:moveTo>
                  <a:cubicBezTo>
                    <a:pt x="61086" y="184409"/>
                    <a:pt x="88789" y="156487"/>
                    <a:pt x="121716" y="157842"/>
                  </a:cubicBezTo>
                  <a:cubicBezTo>
                    <a:pt x="152895" y="159124"/>
                    <a:pt x="177898" y="186309"/>
                    <a:pt x="179078" y="220207"/>
                  </a:cubicBezTo>
                  <a:cubicBezTo>
                    <a:pt x="143502" y="248198"/>
                    <a:pt x="95417" y="248198"/>
                    <a:pt x="59841" y="220207"/>
                  </a:cubicBezTo>
                  <a:close/>
                  <a:moveTo>
                    <a:pt x="93861" y="111324"/>
                  </a:moveTo>
                  <a:cubicBezTo>
                    <a:pt x="93861" y="95953"/>
                    <a:pt x="105322" y="83493"/>
                    <a:pt x="119460" y="83493"/>
                  </a:cubicBezTo>
                  <a:cubicBezTo>
                    <a:pt x="133598" y="83493"/>
                    <a:pt x="145058" y="95953"/>
                    <a:pt x="145058" y="111324"/>
                  </a:cubicBezTo>
                  <a:cubicBezTo>
                    <a:pt x="145058" y="126694"/>
                    <a:pt x="133598" y="139154"/>
                    <a:pt x="119460" y="139154"/>
                  </a:cubicBezTo>
                  <a:cubicBezTo>
                    <a:pt x="105322" y="139154"/>
                    <a:pt x="93861" y="126694"/>
                    <a:pt x="93861" y="111324"/>
                  </a:cubicBezTo>
                  <a:close/>
                  <a:moveTo>
                    <a:pt x="119460" y="18554"/>
                  </a:moveTo>
                  <a:cubicBezTo>
                    <a:pt x="175916" y="18459"/>
                    <a:pt x="221754" y="68140"/>
                    <a:pt x="221841" y="129519"/>
                  </a:cubicBezTo>
                  <a:cubicBezTo>
                    <a:pt x="221881" y="157619"/>
                    <a:pt x="212129" y="184692"/>
                    <a:pt x="194548" y="205290"/>
                  </a:cubicBezTo>
                  <a:cubicBezTo>
                    <a:pt x="189191" y="178203"/>
                    <a:pt x="171862" y="155747"/>
                    <a:pt x="148258" y="145305"/>
                  </a:cubicBezTo>
                  <a:cubicBezTo>
                    <a:pt x="165634" y="128003"/>
                    <a:pt x="166819" y="98662"/>
                    <a:pt x="150906" y="79770"/>
                  </a:cubicBezTo>
                  <a:cubicBezTo>
                    <a:pt x="134991" y="60878"/>
                    <a:pt x="108003" y="59590"/>
                    <a:pt x="90627" y="76892"/>
                  </a:cubicBezTo>
                  <a:cubicBezTo>
                    <a:pt x="73251" y="94194"/>
                    <a:pt x="72066" y="123535"/>
                    <a:pt x="87979" y="142426"/>
                  </a:cubicBezTo>
                  <a:cubicBezTo>
                    <a:pt x="88823" y="143428"/>
                    <a:pt x="89706" y="144388"/>
                    <a:pt x="90627" y="145305"/>
                  </a:cubicBezTo>
                  <a:cubicBezTo>
                    <a:pt x="67036" y="155756"/>
                    <a:pt x="49721" y="178210"/>
                    <a:pt x="44371" y="205290"/>
                  </a:cubicBezTo>
                  <a:cubicBezTo>
                    <a:pt x="5968" y="160297"/>
                    <a:pt x="8384" y="89978"/>
                    <a:pt x="49767" y="48226"/>
                  </a:cubicBezTo>
                  <a:cubicBezTo>
                    <a:pt x="68712" y="29113"/>
                    <a:pt x="93614" y="18510"/>
                    <a:pt x="119460" y="18554"/>
                  </a:cubicBezTo>
                  <a:close/>
                </a:path>
              </a:pathLst>
            </a:custGeom>
            <a:solidFill>
              <a:srgbClr val="FF0000"/>
            </a:solidFill>
            <a:ln w="8533"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87C1A73E-BCF7-40B3-BC9E-353915C50322}"/>
                </a:ext>
              </a:extLst>
            </p:cNvPr>
            <p:cNvSpPr/>
            <p:nvPr/>
          </p:nvSpPr>
          <p:spPr>
            <a:xfrm>
              <a:off x="752960" y="2690812"/>
              <a:ext cx="93178" cy="102046"/>
            </a:xfrm>
            <a:custGeom>
              <a:avLst/>
              <a:gdLst>
                <a:gd name="connsiteX0" fmla="*/ 91028 w 93178"/>
                <a:gd name="connsiteY0" fmla="*/ 33471 h 102046"/>
                <a:gd name="connsiteX1" fmla="*/ 88878 w 93178"/>
                <a:gd name="connsiteY1" fmla="*/ 31133 h 102046"/>
                <a:gd name="connsiteX2" fmla="*/ 3584 w 93178"/>
                <a:gd name="connsiteY2" fmla="*/ 0 h 102046"/>
                <a:gd name="connsiteX3" fmla="*/ 2867 w 93178"/>
                <a:gd name="connsiteY3" fmla="*/ 0 h 102046"/>
                <a:gd name="connsiteX4" fmla="*/ 0 w 93178"/>
                <a:gd name="connsiteY4" fmla="*/ 3117 h 102046"/>
                <a:gd name="connsiteX5" fmla="*/ 0 w 93178"/>
                <a:gd name="connsiteY5" fmla="*/ 3896 h 102046"/>
                <a:gd name="connsiteX6" fmla="*/ 27962 w 93178"/>
                <a:gd name="connsiteY6" fmla="*/ 97408 h 102046"/>
                <a:gd name="connsiteX7" fmla="*/ 31546 w 93178"/>
                <a:gd name="connsiteY7" fmla="*/ 99746 h 102046"/>
                <a:gd name="connsiteX8" fmla="*/ 33696 w 93178"/>
                <a:gd name="connsiteY8" fmla="*/ 97408 h 102046"/>
                <a:gd name="connsiteX9" fmla="*/ 44405 w 93178"/>
                <a:gd name="connsiteY9" fmla="*/ 65588 h 102046"/>
                <a:gd name="connsiteX10" fmla="*/ 44524 w 93178"/>
                <a:gd name="connsiteY10" fmla="*/ 65570 h 102046"/>
                <a:gd name="connsiteX11" fmla="*/ 44541 w 93178"/>
                <a:gd name="connsiteY11" fmla="*/ 65588 h 102046"/>
                <a:gd name="connsiteX12" fmla="*/ 78127 w 93178"/>
                <a:gd name="connsiteY12" fmla="*/ 102047 h 102046"/>
                <a:gd name="connsiteX13" fmla="*/ 93178 w 93178"/>
                <a:gd name="connsiteY13" fmla="*/ 85682 h 102046"/>
                <a:gd name="connsiteX14" fmla="*/ 59593 w 93178"/>
                <a:gd name="connsiteY14" fmla="*/ 49168 h 102046"/>
                <a:gd name="connsiteX15" fmla="*/ 59580 w 93178"/>
                <a:gd name="connsiteY15" fmla="*/ 49024 h 102046"/>
                <a:gd name="connsiteX16" fmla="*/ 59593 w 93178"/>
                <a:gd name="connsiteY16" fmla="*/ 49010 h 102046"/>
                <a:gd name="connsiteX17" fmla="*/ 88912 w 93178"/>
                <a:gd name="connsiteY17" fmla="*/ 37368 h 102046"/>
                <a:gd name="connsiteX18" fmla="*/ 91028 w 93178"/>
                <a:gd name="connsiteY18" fmla="*/ 33471 h 10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178" h="102046">
                  <a:moveTo>
                    <a:pt x="91028" y="33471"/>
                  </a:moveTo>
                  <a:cubicBezTo>
                    <a:pt x="91028" y="32692"/>
                    <a:pt x="90311" y="31913"/>
                    <a:pt x="88878" y="31133"/>
                  </a:cubicBezTo>
                  <a:lnTo>
                    <a:pt x="3584" y="0"/>
                  </a:lnTo>
                  <a:lnTo>
                    <a:pt x="2867" y="0"/>
                  </a:lnTo>
                  <a:cubicBezTo>
                    <a:pt x="1329" y="112"/>
                    <a:pt x="103" y="1444"/>
                    <a:pt x="0" y="3117"/>
                  </a:cubicBezTo>
                  <a:lnTo>
                    <a:pt x="0" y="3896"/>
                  </a:lnTo>
                  <a:lnTo>
                    <a:pt x="27962" y="97408"/>
                  </a:lnTo>
                  <a:cubicBezTo>
                    <a:pt x="28647" y="98868"/>
                    <a:pt x="30038" y="99776"/>
                    <a:pt x="31546" y="99746"/>
                  </a:cubicBezTo>
                  <a:cubicBezTo>
                    <a:pt x="32263" y="99746"/>
                    <a:pt x="32979" y="98967"/>
                    <a:pt x="33696" y="97408"/>
                  </a:cubicBezTo>
                  <a:lnTo>
                    <a:pt x="44405" y="65588"/>
                  </a:lnTo>
                  <a:cubicBezTo>
                    <a:pt x="44433" y="65547"/>
                    <a:pt x="44487" y="65539"/>
                    <a:pt x="44524" y="65570"/>
                  </a:cubicBezTo>
                  <a:cubicBezTo>
                    <a:pt x="44531" y="65575"/>
                    <a:pt x="44536" y="65581"/>
                    <a:pt x="44541" y="65588"/>
                  </a:cubicBezTo>
                  <a:lnTo>
                    <a:pt x="78127" y="102047"/>
                  </a:lnTo>
                  <a:lnTo>
                    <a:pt x="93178" y="85682"/>
                  </a:lnTo>
                  <a:lnTo>
                    <a:pt x="59593" y="49168"/>
                  </a:lnTo>
                  <a:cubicBezTo>
                    <a:pt x="59553" y="49132"/>
                    <a:pt x="59547" y="49068"/>
                    <a:pt x="59580" y="49024"/>
                  </a:cubicBezTo>
                  <a:cubicBezTo>
                    <a:pt x="59584" y="49019"/>
                    <a:pt x="59588" y="49015"/>
                    <a:pt x="59593" y="49010"/>
                  </a:cubicBezTo>
                  <a:lnTo>
                    <a:pt x="88912" y="37368"/>
                  </a:lnTo>
                  <a:cubicBezTo>
                    <a:pt x="90242" y="36612"/>
                    <a:pt x="91062" y="35102"/>
                    <a:pt x="91028" y="33471"/>
                  </a:cubicBezTo>
                  <a:close/>
                </a:path>
              </a:pathLst>
            </a:custGeom>
            <a:solidFill>
              <a:srgbClr val="FF0000"/>
            </a:solidFill>
            <a:ln w="8533" cap="flat">
              <a:noFill/>
              <a:prstDash val="solid"/>
              <a:miter/>
            </a:ln>
          </p:spPr>
          <p:txBody>
            <a:bodyPr rtlCol="0" anchor="ctr"/>
            <a:lstStyle/>
            <a:p>
              <a:endParaRPr lang="en-IN"/>
            </a:p>
          </p:txBody>
        </p:sp>
      </p:grpSp>
      <p:cxnSp>
        <p:nvCxnSpPr>
          <p:cNvPr id="70" name="Straight Arrow Connector 69">
            <a:extLst>
              <a:ext uri="{FF2B5EF4-FFF2-40B4-BE49-F238E27FC236}">
                <a16:creationId xmlns:a16="http://schemas.microsoft.com/office/drawing/2014/main" id="{DBD00873-AFD8-4711-9492-1D7C3A2BACFE}"/>
              </a:ext>
            </a:extLst>
          </p:cNvPr>
          <p:cNvCxnSpPr>
            <a:cxnSpLocks/>
            <a:stCxn id="8" idx="1"/>
            <a:endCxn id="2075" idx="17"/>
          </p:cNvCxnSpPr>
          <p:nvPr/>
        </p:nvCxnSpPr>
        <p:spPr>
          <a:xfrm flipH="1" flipV="1">
            <a:off x="948532" y="2867074"/>
            <a:ext cx="710811" cy="4558"/>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07225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6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5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22" grpId="0"/>
      <p:bldP spid="34" grpId="0" animBg="1"/>
      <p:bldP spid="29" grpId="0" animBg="1"/>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0CE9C-82ED-4E61-8A26-4AA4B67A1708}"/>
              </a:ext>
            </a:extLst>
          </p:cNvPr>
          <p:cNvSpPr>
            <a:spLocks noGrp="1"/>
          </p:cNvSpPr>
          <p:nvPr>
            <p:ph type="title"/>
          </p:nvPr>
        </p:nvSpPr>
        <p:spPr>
          <a:xfrm>
            <a:off x="2464894" y="1645344"/>
            <a:ext cx="6879921" cy="664797"/>
          </a:xfrm>
        </p:spPr>
        <p:txBody>
          <a:bodyPr/>
          <a:lstStyle/>
          <a:p>
            <a:pPr algn="ctr"/>
            <a:r>
              <a:rPr lang="da-DK" dirty="0" err="1"/>
              <a:t>Thank</a:t>
            </a:r>
            <a:r>
              <a:rPr lang="da-DK" dirty="0"/>
              <a:t> </a:t>
            </a:r>
            <a:r>
              <a:rPr lang="da-DK" dirty="0" err="1"/>
              <a:t>you</a:t>
            </a:r>
            <a:r>
              <a:rPr lang="da-DK" dirty="0"/>
              <a:t>!</a:t>
            </a:r>
          </a:p>
        </p:txBody>
      </p:sp>
      <p:pic>
        <p:nvPicPr>
          <p:cNvPr id="5" name="Picture 4">
            <a:extLst>
              <a:ext uri="{FF2B5EF4-FFF2-40B4-BE49-F238E27FC236}">
                <a16:creationId xmlns:a16="http://schemas.microsoft.com/office/drawing/2014/main" id="{7991652A-A1A6-4C07-A1F9-F4AECBE750F4}"/>
              </a:ext>
            </a:extLst>
          </p:cNvPr>
          <p:cNvPicPr>
            <a:picLocks noChangeAspect="1"/>
          </p:cNvPicPr>
          <p:nvPr/>
        </p:nvPicPr>
        <p:blipFill>
          <a:blip r:embed="rId2"/>
          <a:stretch>
            <a:fillRect/>
          </a:stretch>
        </p:blipFill>
        <p:spPr>
          <a:xfrm>
            <a:off x="1737361" y="2722450"/>
            <a:ext cx="1816798" cy="1756739"/>
          </a:xfrm>
          <a:prstGeom prst="foldedCorner">
            <a:avLst>
              <a:gd name="adj" fmla="val 50000"/>
            </a:avLst>
          </a:prstGeom>
        </p:spPr>
      </p:pic>
      <p:pic>
        <p:nvPicPr>
          <p:cNvPr id="7" name="Picture 6">
            <a:extLst>
              <a:ext uri="{FF2B5EF4-FFF2-40B4-BE49-F238E27FC236}">
                <a16:creationId xmlns:a16="http://schemas.microsoft.com/office/drawing/2014/main" id="{17DFCD7A-4834-4971-8ABD-02F4340AE434}"/>
              </a:ext>
            </a:extLst>
          </p:cNvPr>
          <p:cNvPicPr>
            <a:picLocks noChangeAspect="1"/>
          </p:cNvPicPr>
          <p:nvPr/>
        </p:nvPicPr>
        <p:blipFill>
          <a:blip r:embed="rId3"/>
          <a:stretch>
            <a:fillRect/>
          </a:stretch>
        </p:blipFill>
        <p:spPr>
          <a:xfrm>
            <a:off x="3807582" y="2722449"/>
            <a:ext cx="1843850" cy="1756739"/>
          </a:xfrm>
          <a:prstGeom prst="foldedCorner">
            <a:avLst>
              <a:gd name="adj" fmla="val 50000"/>
            </a:avLst>
          </a:prstGeom>
        </p:spPr>
      </p:pic>
      <p:pic>
        <p:nvPicPr>
          <p:cNvPr id="9" name="Picture 8">
            <a:extLst>
              <a:ext uri="{FF2B5EF4-FFF2-40B4-BE49-F238E27FC236}">
                <a16:creationId xmlns:a16="http://schemas.microsoft.com/office/drawing/2014/main" id="{765C738D-DC64-4543-8B61-66AE3207CE95}"/>
              </a:ext>
            </a:extLst>
          </p:cNvPr>
          <p:cNvPicPr>
            <a:picLocks noChangeAspect="1"/>
          </p:cNvPicPr>
          <p:nvPr/>
        </p:nvPicPr>
        <p:blipFill>
          <a:blip r:embed="rId4"/>
          <a:stretch>
            <a:fillRect/>
          </a:stretch>
        </p:blipFill>
        <p:spPr>
          <a:xfrm>
            <a:off x="5904855" y="2722449"/>
            <a:ext cx="1787290" cy="1756739"/>
          </a:xfrm>
          <a:prstGeom prst="foldedCorner">
            <a:avLst>
              <a:gd name="adj" fmla="val 50000"/>
            </a:avLst>
          </a:prstGeom>
        </p:spPr>
      </p:pic>
      <p:pic>
        <p:nvPicPr>
          <p:cNvPr id="4098" name="id-5BEA2BC7-F220-49F1-AA7F-4612FEFB295D" descr="Image.jpeg">
            <a:extLst>
              <a:ext uri="{FF2B5EF4-FFF2-40B4-BE49-F238E27FC236}">
                <a16:creationId xmlns:a16="http://schemas.microsoft.com/office/drawing/2014/main" id="{7E9D9CB2-11DB-4326-A41F-CD525F55BC4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872" t="7871" r="14723" b="30063"/>
          <a:stretch/>
        </p:blipFill>
        <p:spPr bwMode="auto">
          <a:xfrm>
            <a:off x="8049329" y="2722449"/>
            <a:ext cx="1917631" cy="1761403"/>
          </a:xfrm>
          <a:prstGeom prst="foldedCorner">
            <a:avLst>
              <a:gd name="adj"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558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16B5BF34AF0B040A8FC0CC8DC294259" ma:contentTypeVersion="4" ma:contentTypeDescription="Create a new document." ma:contentTypeScope="" ma:versionID="0637706817703c8270883dd9cc646065">
  <xsd:schema xmlns:xsd="http://www.w3.org/2001/XMLSchema" xmlns:xs="http://www.w3.org/2001/XMLSchema" xmlns:p="http://schemas.microsoft.com/office/2006/metadata/properties" xmlns:ns2="702fdc93-2b68-4bec-afe6-ab6512ffa8ed" targetNamespace="http://schemas.microsoft.com/office/2006/metadata/properties" ma:root="true" ma:fieldsID="1d4d9004bef05b0b07c2527a323c80f2" ns2:_="">
    <xsd:import namespace="702fdc93-2b68-4bec-afe6-ab6512ffa8e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2fdc93-2b68-4bec-afe6-ab6512ffa8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1AE556A-C7E7-4114-B02C-7D7F2C9E5FB3}">
  <ds:schemaRefs>
    <ds:schemaRef ds:uri="http://schemas.microsoft.com/sharepoint/v3/contenttype/forms"/>
  </ds:schemaRefs>
</ds:datastoreItem>
</file>

<file path=customXml/itemProps2.xml><?xml version="1.0" encoding="utf-8"?>
<ds:datastoreItem xmlns:ds="http://schemas.openxmlformats.org/officeDocument/2006/customXml" ds:itemID="{A53F5F50-5B75-4A36-8A79-6E7CCFE98CE9}">
  <ds:schemaRefs>
    <ds:schemaRef ds:uri="702fdc93-2b68-4bec-afe6-ab6512ffa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DFA2319-64C9-4BD2-9AD0-C8F2EE8491D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056</TotalTime>
  <Words>237</Words>
  <Application>Microsoft Office PowerPoint</Application>
  <PresentationFormat>Widescreen</PresentationFormat>
  <Paragraphs>39</Paragraphs>
  <Slides>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EYInterstate</vt:lpstr>
      <vt:lpstr>EYInterstate Light</vt:lpstr>
      <vt:lpstr>1_Office Theme</vt:lpstr>
      <vt:lpstr>think-cell Slide</vt:lpstr>
      <vt:lpstr>Call for Code Challenge</vt:lpstr>
      <vt:lpstr>ESG - Challenge</vt:lpstr>
      <vt:lpstr>Responsible consumption and distribution</vt:lpstr>
      <vt:lpstr>Wireframe</vt:lpstr>
      <vt:lpstr>System Architectur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er-of-Excellence –Azure FY22 plans</dc:title>
  <dc:creator>Vijay Yellapragada</dc:creator>
  <cp:lastModifiedBy>Ninghan Hu</cp:lastModifiedBy>
  <cp:revision>51</cp:revision>
  <dcterms:created xsi:type="dcterms:W3CDTF">2021-05-20T13:46:03Z</dcterms:created>
  <dcterms:modified xsi:type="dcterms:W3CDTF">2021-11-19T10:5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6B5BF34AF0B040A8FC0CC8DC294259</vt:lpwstr>
  </property>
</Properties>
</file>